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sldIdLst>
    <p:sldId id="305" r:id="rId5"/>
    <p:sldId id="391" r:id="rId6"/>
    <p:sldId id="392" r:id="rId7"/>
    <p:sldId id="389" r:id="rId8"/>
    <p:sldId id="393" r:id="rId9"/>
    <p:sldId id="433" r:id="rId10"/>
  </p:sldIdLst>
  <p:sldSz cx="12192000" cy="6858000"/>
  <p:notesSz cx="6950075" cy="92360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230366E-4480-460A-9B24-1EEB4086F05A}">
          <p14:sldIdLst>
            <p14:sldId id="305"/>
            <p14:sldId id="391"/>
            <p14:sldId id="392"/>
            <p14:sldId id="389"/>
            <p14:sldId id="393"/>
            <p14:sldId id="43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yant, William" initials="BW" lastIdx="1" clrIdx="0">
    <p:extLst>
      <p:ext uri="{19B8F6BF-5375-455C-9EA6-DF929625EA0E}">
        <p15:presenceInfo xmlns:p15="http://schemas.microsoft.com/office/powerpoint/2012/main" userId="S-1-5-21-296752856-1504535144-1563503735-2565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FB7"/>
    <a:srgbClr val="F37F10"/>
    <a:srgbClr val="800600"/>
    <a:srgbClr val="2000FF"/>
    <a:srgbClr val="FF00FF"/>
    <a:srgbClr val="465267"/>
    <a:srgbClr val="984DA2"/>
    <a:srgbClr val="1B6B00"/>
    <a:srgbClr val="F78F2D"/>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autoAdjust="0"/>
    <p:restoredTop sz="95599" autoAdjust="0"/>
  </p:normalViewPr>
  <p:slideViewPr>
    <p:cSldViewPr snapToGrid="0">
      <p:cViewPr varScale="1">
        <p:scale>
          <a:sx n="137" d="100"/>
          <a:sy n="137" d="100"/>
        </p:scale>
        <p:origin x="2096" y="192"/>
      </p:cViewPr>
      <p:guideLst/>
    </p:cSldViewPr>
  </p:slideViewPr>
  <p:notesTextViewPr>
    <p:cViewPr>
      <p:scale>
        <a:sx n="1" d="1"/>
        <a:sy n="1" d="1"/>
      </p:scale>
      <p:origin x="0" y="0"/>
    </p:cViewPr>
  </p:notesTextViewPr>
  <p:sorterViewPr>
    <p:cViewPr>
      <p:scale>
        <a:sx n="100" d="100"/>
        <a:sy n="100" d="100"/>
      </p:scale>
      <p:origin x="0" y="-3207"/>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lamm/Documents/covid_forecasting_state_data_2021-02-2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vid_forecasting_state_data_2021-02-23.xlsx]chart!PivotTable1</c:name>
    <c:fmtId val="6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a:effectLst/>
              </a:rPr>
              <a:t>State-wide COVID-19 Census</a:t>
            </a:r>
            <a:endParaRPr lang="en-US">
              <a:effectLst/>
            </a:endParaRPr>
          </a:p>
          <a:p>
            <a:pPr>
              <a:defRPr/>
            </a:pPr>
            <a:r>
              <a:rPr lang="en-US" sz="1800" b="0" i="1" baseline="0">
                <a:effectLst/>
              </a:rPr>
              <a:t>NC DHHS Site</a:t>
            </a:r>
            <a:r>
              <a:rPr lang="en-US" sz="1800" b="0" i="0" baseline="0">
                <a:effectLst/>
              </a:rPr>
              <a:t> </a:t>
            </a:r>
            <a:endParaRPr lang="en-US">
              <a:effectLst/>
            </a:endParaRPr>
          </a:p>
          <a:p>
            <a:pPr>
              <a:defRPr/>
            </a:pPr>
            <a:endParaRPr lang="en-US"/>
          </a:p>
        </c:rich>
      </c:tx>
      <c:layout>
        <c:manualLayout>
          <c:xMode val="edge"/>
          <c:yMode val="edge"/>
          <c:x val="0.11888549473484489"/>
          <c:y val="7.795100222717149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w="1905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bg1">
                <a:lumMod val="75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bg1">
                <a:lumMod val="75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1905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bg1">
                <a:lumMod val="75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3.9866426335262307E-2"/>
          <c:y val="4.017817371937641E-2"/>
          <c:w val="0.93139199316952848"/>
          <c:h val="0.80498149869350977"/>
        </c:manualLayout>
      </c:layout>
      <c:lineChart>
        <c:grouping val="standard"/>
        <c:varyColors val="0"/>
        <c:ser>
          <c:idx val="0"/>
          <c:order val="0"/>
          <c:tx>
            <c:strRef>
              <c:f>chart!$B$3</c:f>
              <c:strCache>
                <c:ptCount val="1"/>
                <c:pt idx="0">
                  <c:v>Daily Total</c:v>
                </c:pt>
              </c:strCache>
            </c:strRef>
          </c:tx>
          <c:spPr>
            <a:ln w="19050" cap="rnd">
              <a:solidFill>
                <a:schemeClr val="accent1"/>
              </a:solidFill>
              <a:round/>
            </a:ln>
            <a:effectLst/>
          </c:spPr>
          <c:marker>
            <c:symbol val="none"/>
          </c:marker>
          <c:trendline>
            <c:name>7 Day Rolling Average</c:name>
            <c:spPr>
              <a:ln w="19050" cap="rnd">
                <a:solidFill>
                  <a:srgbClr val="FF0000"/>
                </a:solidFill>
                <a:prstDash val="sysDot"/>
              </a:ln>
              <a:effectLst/>
            </c:spPr>
            <c:trendlineType val="movingAvg"/>
            <c:period val="7"/>
            <c:dispRSqr val="0"/>
            <c:dispEq val="0"/>
          </c:trendline>
          <c:cat>
            <c:strRef>
              <c:f>chart!$A$4:$A$555</c:f>
              <c:strCache>
                <c:ptCount val="551"/>
                <c:pt idx="0">
                  <c:v>4/8/20</c:v>
                </c:pt>
                <c:pt idx="1">
                  <c:v>4/9/20</c:v>
                </c:pt>
                <c:pt idx="2">
                  <c:v>4/10/20</c:v>
                </c:pt>
                <c:pt idx="3">
                  <c:v>4/11/20</c:v>
                </c:pt>
                <c:pt idx="4">
                  <c:v>4/12/20</c:v>
                </c:pt>
                <c:pt idx="5">
                  <c:v>4/13/20</c:v>
                </c:pt>
                <c:pt idx="6">
                  <c:v>4/14/20</c:v>
                </c:pt>
                <c:pt idx="7">
                  <c:v>4/15/20</c:v>
                </c:pt>
                <c:pt idx="8">
                  <c:v>4/16/20</c:v>
                </c:pt>
                <c:pt idx="9">
                  <c:v>4/17/20</c:v>
                </c:pt>
                <c:pt idx="10">
                  <c:v>4/18/20</c:v>
                </c:pt>
                <c:pt idx="11">
                  <c:v>4/19/20</c:v>
                </c:pt>
                <c:pt idx="12">
                  <c:v>4/20/20</c:v>
                </c:pt>
                <c:pt idx="13">
                  <c:v>4/21/20</c:v>
                </c:pt>
                <c:pt idx="14">
                  <c:v>4/22/20</c:v>
                </c:pt>
                <c:pt idx="15">
                  <c:v>4/23/20</c:v>
                </c:pt>
                <c:pt idx="16">
                  <c:v>4/24/20</c:v>
                </c:pt>
                <c:pt idx="17">
                  <c:v>4/25/20</c:v>
                </c:pt>
                <c:pt idx="18">
                  <c:v>4/26/20</c:v>
                </c:pt>
                <c:pt idx="19">
                  <c:v>4/27/20</c:v>
                </c:pt>
                <c:pt idx="20">
                  <c:v>4/28/20</c:v>
                </c:pt>
                <c:pt idx="21">
                  <c:v>4/29/20</c:v>
                </c:pt>
                <c:pt idx="22">
                  <c:v>4/30/20</c:v>
                </c:pt>
                <c:pt idx="23">
                  <c:v>5/1/20</c:v>
                </c:pt>
                <c:pt idx="24">
                  <c:v>5/2/20</c:v>
                </c:pt>
                <c:pt idx="25">
                  <c:v>5/3/20</c:v>
                </c:pt>
                <c:pt idx="26">
                  <c:v>5/4/20</c:v>
                </c:pt>
                <c:pt idx="27">
                  <c:v>5/5/20</c:v>
                </c:pt>
                <c:pt idx="28">
                  <c:v>5/6/20</c:v>
                </c:pt>
                <c:pt idx="29">
                  <c:v>5/7/20</c:v>
                </c:pt>
                <c:pt idx="30">
                  <c:v>5/8/20</c:v>
                </c:pt>
                <c:pt idx="31">
                  <c:v>5/9/20</c:v>
                </c:pt>
                <c:pt idx="32">
                  <c:v>5/10/20</c:v>
                </c:pt>
                <c:pt idx="33">
                  <c:v>5/11/20</c:v>
                </c:pt>
                <c:pt idx="34">
                  <c:v>5/12/20</c:v>
                </c:pt>
                <c:pt idx="35">
                  <c:v>5/13/20</c:v>
                </c:pt>
                <c:pt idx="36">
                  <c:v>5/14/20</c:v>
                </c:pt>
                <c:pt idx="37">
                  <c:v>5/15/20</c:v>
                </c:pt>
                <c:pt idx="38">
                  <c:v>5/16/20</c:v>
                </c:pt>
                <c:pt idx="39">
                  <c:v>5/17/20</c:v>
                </c:pt>
                <c:pt idx="40">
                  <c:v>5/18/20</c:v>
                </c:pt>
                <c:pt idx="41">
                  <c:v>5/19/20</c:v>
                </c:pt>
                <c:pt idx="42">
                  <c:v>5/20/20</c:v>
                </c:pt>
                <c:pt idx="43">
                  <c:v>5/21/20</c:v>
                </c:pt>
                <c:pt idx="44">
                  <c:v>5/22/20</c:v>
                </c:pt>
                <c:pt idx="45">
                  <c:v>5/23/20</c:v>
                </c:pt>
                <c:pt idx="46">
                  <c:v>5/24/20</c:v>
                </c:pt>
                <c:pt idx="47">
                  <c:v>5/25/20</c:v>
                </c:pt>
                <c:pt idx="48">
                  <c:v>5/26/20</c:v>
                </c:pt>
                <c:pt idx="49">
                  <c:v>5/27/20</c:v>
                </c:pt>
                <c:pt idx="50">
                  <c:v>5/28/20</c:v>
                </c:pt>
                <c:pt idx="51">
                  <c:v>5/29/20</c:v>
                </c:pt>
                <c:pt idx="52">
                  <c:v>5/30/20</c:v>
                </c:pt>
                <c:pt idx="53">
                  <c:v>5/31/20</c:v>
                </c:pt>
                <c:pt idx="54">
                  <c:v>6/1/20</c:v>
                </c:pt>
                <c:pt idx="55">
                  <c:v>6/2/20</c:v>
                </c:pt>
                <c:pt idx="56">
                  <c:v>6/3/20</c:v>
                </c:pt>
                <c:pt idx="57">
                  <c:v>6/4/20</c:v>
                </c:pt>
                <c:pt idx="58">
                  <c:v>6/5/20</c:v>
                </c:pt>
                <c:pt idx="59">
                  <c:v>6/6/20</c:v>
                </c:pt>
                <c:pt idx="60">
                  <c:v>6/7/20</c:v>
                </c:pt>
                <c:pt idx="61">
                  <c:v>6/8/20</c:v>
                </c:pt>
                <c:pt idx="62">
                  <c:v>6/9/20</c:v>
                </c:pt>
                <c:pt idx="63">
                  <c:v>6/10/20</c:v>
                </c:pt>
                <c:pt idx="64">
                  <c:v>6/11/20</c:v>
                </c:pt>
                <c:pt idx="65">
                  <c:v>6/12/20</c:v>
                </c:pt>
                <c:pt idx="66">
                  <c:v>6/13/20</c:v>
                </c:pt>
                <c:pt idx="67">
                  <c:v>6/14/20</c:v>
                </c:pt>
                <c:pt idx="68">
                  <c:v>6/15/20</c:v>
                </c:pt>
                <c:pt idx="69">
                  <c:v>6/16/20</c:v>
                </c:pt>
                <c:pt idx="70">
                  <c:v>6/17/20</c:v>
                </c:pt>
                <c:pt idx="71">
                  <c:v>6/18/20</c:v>
                </c:pt>
                <c:pt idx="72">
                  <c:v>6/19/20</c:v>
                </c:pt>
                <c:pt idx="73">
                  <c:v>6/20/20</c:v>
                </c:pt>
                <c:pt idx="74">
                  <c:v>6/21/20</c:v>
                </c:pt>
                <c:pt idx="75">
                  <c:v>6/22/20</c:v>
                </c:pt>
                <c:pt idx="76">
                  <c:v>6/23/20</c:v>
                </c:pt>
                <c:pt idx="77">
                  <c:v>6/24/20</c:v>
                </c:pt>
                <c:pt idx="78">
                  <c:v>6/25/20</c:v>
                </c:pt>
                <c:pt idx="79">
                  <c:v>6/26/20</c:v>
                </c:pt>
                <c:pt idx="80">
                  <c:v>6/27/20</c:v>
                </c:pt>
                <c:pt idx="81">
                  <c:v>6/28/20</c:v>
                </c:pt>
                <c:pt idx="82">
                  <c:v>6/29/20</c:v>
                </c:pt>
                <c:pt idx="83">
                  <c:v>6/30/20</c:v>
                </c:pt>
                <c:pt idx="84">
                  <c:v>7/1/20</c:v>
                </c:pt>
                <c:pt idx="85">
                  <c:v>7/2/20</c:v>
                </c:pt>
                <c:pt idx="86">
                  <c:v>7/3/20</c:v>
                </c:pt>
                <c:pt idx="87">
                  <c:v>7/4/20</c:v>
                </c:pt>
                <c:pt idx="88">
                  <c:v>7/5/20</c:v>
                </c:pt>
                <c:pt idx="89">
                  <c:v>7/6/20</c:v>
                </c:pt>
                <c:pt idx="90">
                  <c:v>7/7/20</c:v>
                </c:pt>
                <c:pt idx="91">
                  <c:v>7/8/20</c:v>
                </c:pt>
                <c:pt idx="92">
                  <c:v>7/9/20</c:v>
                </c:pt>
                <c:pt idx="93">
                  <c:v>7/10/20</c:v>
                </c:pt>
                <c:pt idx="94">
                  <c:v>7/11/20</c:v>
                </c:pt>
                <c:pt idx="95">
                  <c:v>7/12/20</c:v>
                </c:pt>
                <c:pt idx="96">
                  <c:v>7/13/20</c:v>
                </c:pt>
                <c:pt idx="97">
                  <c:v>7/14/20</c:v>
                </c:pt>
                <c:pt idx="98">
                  <c:v>7/15/20</c:v>
                </c:pt>
                <c:pt idx="99">
                  <c:v>7/16/20</c:v>
                </c:pt>
                <c:pt idx="100">
                  <c:v>7/17/20</c:v>
                </c:pt>
                <c:pt idx="101">
                  <c:v>7/18/20</c:v>
                </c:pt>
                <c:pt idx="102">
                  <c:v>7/19/20</c:v>
                </c:pt>
                <c:pt idx="103">
                  <c:v>7/20/20</c:v>
                </c:pt>
                <c:pt idx="104">
                  <c:v>7/21/20</c:v>
                </c:pt>
                <c:pt idx="105">
                  <c:v>7/22/20</c:v>
                </c:pt>
                <c:pt idx="106">
                  <c:v>7/23/20</c:v>
                </c:pt>
                <c:pt idx="107">
                  <c:v>7/24/20</c:v>
                </c:pt>
                <c:pt idx="108">
                  <c:v>7/25/20</c:v>
                </c:pt>
                <c:pt idx="109">
                  <c:v>7/26/20</c:v>
                </c:pt>
                <c:pt idx="110">
                  <c:v>7/27/20</c:v>
                </c:pt>
                <c:pt idx="111">
                  <c:v>7/28/20</c:v>
                </c:pt>
                <c:pt idx="112">
                  <c:v>7/29/20</c:v>
                </c:pt>
                <c:pt idx="113">
                  <c:v>7/30/20</c:v>
                </c:pt>
                <c:pt idx="114">
                  <c:v>7/31/20</c:v>
                </c:pt>
                <c:pt idx="115">
                  <c:v>8/1/20</c:v>
                </c:pt>
                <c:pt idx="116">
                  <c:v>8/2/20</c:v>
                </c:pt>
                <c:pt idx="117">
                  <c:v>8/3/20</c:v>
                </c:pt>
                <c:pt idx="118">
                  <c:v>8/4/20</c:v>
                </c:pt>
                <c:pt idx="119">
                  <c:v>8/5/20</c:v>
                </c:pt>
                <c:pt idx="120">
                  <c:v>8/6/20</c:v>
                </c:pt>
                <c:pt idx="121">
                  <c:v>8/7/20</c:v>
                </c:pt>
                <c:pt idx="122">
                  <c:v>8/8/20</c:v>
                </c:pt>
                <c:pt idx="123">
                  <c:v>8/9/20</c:v>
                </c:pt>
                <c:pt idx="124">
                  <c:v>8/10/20</c:v>
                </c:pt>
                <c:pt idx="125">
                  <c:v>8/11/20</c:v>
                </c:pt>
                <c:pt idx="126">
                  <c:v>8/12/20</c:v>
                </c:pt>
                <c:pt idx="127">
                  <c:v>8/13/20</c:v>
                </c:pt>
                <c:pt idx="128">
                  <c:v>8/14/20</c:v>
                </c:pt>
                <c:pt idx="129">
                  <c:v>8/15/20</c:v>
                </c:pt>
                <c:pt idx="130">
                  <c:v>8/16/20</c:v>
                </c:pt>
                <c:pt idx="131">
                  <c:v>8/17/20</c:v>
                </c:pt>
                <c:pt idx="132">
                  <c:v>8/18/20</c:v>
                </c:pt>
                <c:pt idx="133">
                  <c:v>8/19/20</c:v>
                </c:pt>
                <c:pt idx="134">
                  <c:v>8/20/20</c:v>
                </c:pt>
                <c:pt idx="135">
                  <c:v>8/21/20</c:v>
                </c:pt>
                <c:pt idx="136">
                  <c:v>8/22/20</c:v>
                </c:pt>
                <c:pt idx="137">
                  <c:v>8/23/20</c:v>
                </c:pt>
                <c:pt idx="138">
                  <c:v>8/24/20</c:v>
                </c:pt>
                <c:pt idx="139">
                  <c:v>8/25/20</c:v>
                </c:pt>
                <c:pt idx="140">
                  <c:v>8/26/20</c:v>
                </c:pt>
                <c:pt idx="141">
                  <c:v>8/27/20</c:v>
                </c:pt>
                <c:pt idx="142">
                  <c:v>8/28/20</c:v>
                </c:pt>
                <c:pt idx="143">
                  <c:v>8/29/20</c:v>
                </c:pt>
                <c:pt idx="144">
                  <c:v>8/30/20</c:v>
                </c:pt>
                <c:pt idx="145">
                  <c:v>8/31/20</c:v>
                </c:pt>
                <c:pt idx="146">
                  <c:v>9/1/20</c:v>
                </c:pt>
                <c:pt idx="147">
                  <c:v>9/2/20</c:v>
                </c:pt>
                <c:pt idx="148">
                  <c:v>9/3/20</c:v>
                </c:pt>
                <c:pt idx="149">
                  <c:v>9/4/20</c:v>
                </c:pt>
                <c:pt idx="150">
                  <c:v>9/5/20</c:v>
                </c:pt>
                <c:pt idx="151">
                  <c:v>9/6/20</c:v>
                </c:pt>
                <c:pt idx="152">
                  <c:v>9/7/20</c:v>
                </c:pt>
                <c:pt idx="153">
                  <c:v>9/8/20</c:v>
                </c:pt>
                <c:pt idx="154">
                  <c:v>9/9/20</c:v>
                </c:pt>
                <c:pt idx="155">
                  <c:v>9/10/20</c:v>
                </c:pt>
                <c:pt idx="156">
                  <c:v>9/11/20</c:v>
                </c:pt>
                <c:pt idx="157">
                  <c:v>9/12/20</c:v>
                </c:pt>
                <c:pt idx="158">
                  <c:v>9/13/20</c:v>
                </c:pt>
                <c:pt idx="159">
                  <c:v>9/14/20</c:v>
                </c:pt>
                <c:pt idx="160">
                  <c:v>9/15/20</c:v>
                </c:pt>
                <c:pt idx="161">
                  <c:v>9/16/20</c:v>
                </c:pt>
                <c:pt idx="162">
                  <c:v>9/17/20</c:v>
                </c:pt>
                <c:pt idx="163">
                  <c:v>9/18/20</c:v>
                </c:pt>
                <c:pt idx="164">
                  <c:v>9/19/20</c:v>
                </c:pt>
                <c:pt idx="165">
                  <c:v>9/20/20</c:v>
                </c:pt>
                <c:pt idx="166">
                  <c:v>9/21/20</c:v>
                </c:pt>
                <c:pt idx="167">
                  <c:v>9/22/20</c:v>
                </c:pt>
                <c:pt idx="168">
                  <c:v>9/23/20</c:v>
                </c:pt>
                <c:pt idx="169">
                  <c:v>9/24/20</c:v>
                </c:pt>
                <c:pt idx="170">
                  <c:v>9/25/20</c:v>
                </c:pt>
                <c:pt idx="171">
                  <c:v>9/26/20</c:v>
                </c:pt>
                <c:pt idx="172">
                  <c:v>9/27/20</c:v>
                </c:pt>
                <c:pt idx="173">
                  <c:v>9/28/20</c:v>
                </c:pt>
                <c:pt idx="174">
                  <c:v>9/29/20</c:v>
                </c:pt>
                <c:pt idx="175">
                  <c:v>9/30/20</c:v>
                </c:pt>
                <c:pt idx="176">
                  <c:v>10/1/20</c:v>
                </c:pt>
                <c:pt idx="177">
                  <c:v>10/2/20</c:v>
                </c:pt>
                <c:pt idx="178">
                  <c:v>10/3/20</c:v>
                </c:pt>
                <c:pt idx="179">
                  <c:v>10/4/20</c:v>
                </c:pt>
                <c:pt idx="180">
                  <c:v>10/5/20</c:v>
                </c:pt>
                <c:pt idx="181">
                  <c:v>10/6/20</c:v>
                </c:pt>
                <c:pt idx="182">
                  <c:v>10/7/20</c:v>
                </c:pt>
                <c:pt idx="183">
                  <c:v>10/8/20</c:v>
                </c:pt>
                <c:pt idx="184">
                  <c:v>10/9/20</c:v>
                </c:pt>
                <c:pt idx="185">
                  <c:v>10/10/20</c:v>
                </c:pt>
                <c:pt idx="186">
                  <c:v>10/11/20</c:v>
                </c:pt>
                <c:pt idx="187">
                  <c:v>10/12/20</c:v>
                </c:pt>
                <c:pt idx="188">
                  <c:v>10/13/20</c:v>
                </c:pt>
                <c:pt idx="189">
                  <c:v>10/14/20</c:v>
                </c:pt>
                <c:pt idx="190">
                  <c:v>10/15/20</c:v>
                </c:pt>
                <c:pt idx="191">
                  <c:v>10/16/20</c:v>
                </c:pt>
                <c:pt idx="192">
                  <c:v>10/17/20</c:v>
                </c:pt>
                <c:pt idx="193">
                  <c:v>10/18/20</c:v>
                </c:pt>
                <c:pt idx="194">
                  <c:v>10/19/20</c:v>
                </c:pt>
                <c:pt idx="195">
                  <c:v>10/20/20</c:v>
                </c:pt>
                <c:pt idx="196">
                  <c:v>10/21/20</c:v>
                </c:pt>
                <c:pt idx="197">
                  <c:v>10/22/20</c:v>
                </c:pt>
                <c:pt idx="198">
                  <c:v>10/23/20</c:v>
                </c:pt>
                <c:pt idx="199">
                  <c:v>10/24/20</c:v>
                </c:pt>
                <c:pt idx="200">
                  <c:v>10/25/20</c:v>
                </c:pt>
                <c:pt idx="201">
                  <c:v>10/26/20</c:v>
                </c:pt>
                <c:pt idx="202">
                  <c:v>10/27/20</c:v>
                </c:pt>
                <c:pt idx="203">
                  <c:v>10/28/20</c:v>
                </c:pt>
                <c:pt idx="204">
                  <c:v>10/29/20</c:v>
                </c:pt>
                <c:pt idx="205">
                  <c:v>10/30/20</c:v>
                </c:pt>
                <c:pt idx="206">
                  <c:v>10/31/20</c:v>
                </c:pt>
                <c:pt idx="207">
                  <c:v>11/1/20</c:v>
                </c:pt>
                <c:pt idx="208">
                  <c:v>11/2/20</c:v>
                </c:pt>
                <c:pt idx="209">
                  <c:v>11/3/20</c:v>
                </c:pt>
                <c:pt idx="210">
                  <c:v>11/4/20</c:v>
                </c:pt>
                <c:pt idx="211">
                  <c:v>11/5/20</c:v>
                </c:pt>
                <c:pt idx="212">
                  <c:v>11/6/20</c:v>
                </c:pt>
                <c:pt idx="213">
                  <c:v>11/7/20</c:v>
                </c:pt>
                <c:pt idx="214">
                  <c:v>11/8/20</c:v>
                </c:pt>
                <c:pt idx="215">
                  <c:v>11/9/20</c:v>
                </c:pt>
                <c:pt idx="216">
                  <c:v>11/10/20</c:v>
                </c:pt>
                <c:pt idx="217">
                  <c:v>11/11/20</c:v>
                </c:pt>
                <c:pt idx="218">
                  <c:v>11/12/20</c:v>
                </c:pt>
                <c:pt idx="219">
                  <c:v>11/13/20</c:v>
                </c:pt>
                <c:pt idx="220">
                  <c:v>11/14/20</c:v>
                </c:pt>
                <c:pt idx="221">
                  <c:v>11/15/20</c:v>
                </c:pt>
                <c:pt idx="222">
                  <c:v>11/16/20</c:v>
                </c:pt>
                <c:pt idx="223">
                  <c:v>11/17/20</c:v>
                </c:pt>
                <c:pt idx="224">
                  <c:v>11/18/20</c:v>
                </c:pt>
                <c:pt idx="225">
                  <c:v>11/19/20</c:v>
                </c:pt>
                <c:pt idx="226">
                  <c:v>11/20/20</c:v>
                </c:pt>
                <c:pt idx="227">
                  <c:v>11/21/20</c:v>
                </c:pt>
                <c:pt idx="228">
                  <c:v>11/22/20</c:v>
                </c:pt>
                <c:pt idx="229">
                  <c:v>11/23/20</c:v>
                </c:pt>
                <c:pt idx="230">
                  <c:v>11/24/20</c:v>
                </c:pt>
                <c:pt idx="231">
                  <c:v>11/25/20</c:v>
                </c:pt>
                <c:pt idx="232">
                  <c:v>11/26/20</c:v>
                </c:pt>
                <c:pt idx="233">
                  <c:v>11/27/20</c:v>
                </c:pt>
                <c:pt idx="234">
                  <c:v>11/28/20</c:v>
                </c:pt>
                <c:pt idx="235">
                  <c:v>11/29/20</c:v>
                </c:pt>
                <c:pt idx="236">
                  <c:v>11/30/20</c:v>
                </c:pt>
                <c:pt idx="237">
                  <c:v>12/1/20</c:v>
                </c:pt>
                <c:pt idx="238">
                  <c:v>12/2/20</c:v>
                </c:pt>
                <c:pt idx="239">
                  <c:v>12/3/20</c:v>
                </c:pt>
                <c:pt idx="240">
                  <c:v>12/4/20</c:v>
                </c:pt>
                <c:pt idx="241">
                  <c:v>12/5/20</c:v>
                </c:pt>
                <c:pt idx="242">
                  <c:v>12/6/20</c:v>
                </c:pt>
                <c:pt idx="243">
                  <c:v>12/7/20</c:v>
                </c:pt>
                <c:pt idx="244">
                  <c:v>12/8/20</c:v>
                </c:pt>
                <c:pt idx="245">
                  <c:v>12/9/20</c:v>
                </c:pt>
                <c:pt idx="246">
                  <c:v>12/10/20</c:v>
                </c:pt>
                <c:pt idx="247">
                  <c:v>12/11/20</c:v>
                </c:pt>
                <c:pt idx="248">
                  <c:v>12/12/20</c:v>
                </c:pt>
                <c:pt idx="249">
                  <c:v>12/13/20</c:v>
                </c:pt>
                <c:pt idx="250">
                  <c:v>12/14/20</c:v>
                </c:pt>
                <c:pt idx="251">
                  <c:v>12/15/20</c:v>
                </c:pt>
                <c:pt idx="252">
                  <c:v>12/16/20</c:v>
                </c:pt>
                <c:pt idx="253">
                  <c:v>12/17/20</c:v>
                </c:pt>
                <c:pt idx="254">
                  <c:v>12/18/20</c:v>
                </c:pt>
                <c:pt idx="255">
                  <c:v>12/19/20</c:v>
                </c:pt>
                <c:pt idx="256">
                  <c:v>12/20/20</c:v>
                </c:pt>
                <c:pt idx="257">
                  <c:v>12/21/20</c:v>
                </c:pt>
                <c:pt idx="258">
                  <c:v>12/22/20</c:v>
                </c:pt>
                <c:pt idx="259">
                  <c:v>12/23/20</c:v>
                </c:pt>
                <c:pt idx="260">
                  <c:v>12/24/20</c:v>
                </c:pt>
                <c:pt idx="261">
                  <c:v>12/25/20</c:v>
                </c:pt>
                <c:pt idx="262">
                  <c:v>12/26/20</c:v>
                </c:pt>
                <c:pt idx="263">
                  <c:v>12/27/20</c:v>
                </c:pt>
                <c:pt idx="264">
                  <c:v>12/28/20</c:v>
                </c:pt>
                <c:pt idx="265">
                  <c:v>12/29/20</c:v>
                </c:pt>
                <c:pt idx="266">
                  <c:v>12/30/20</c:v>
                </c:pt>
                <c:pt idx="267">
                  <c:v>12/31/20</c:v>
                </c:pt>
                <c:pt idx="268">
                  <c:v>1/1/21</c:v>
                </c:pt>
                <c:pt idx="269">
                  <c:v>1/2/21</c:v>
                </c:pt>
                <c:pt idx="270">
                  <c:v>1/3/21</c:v>
                </c:pt>
                <c:pt idx="271">
                  <c:v>1/4/21</c:v>
                </c:pt>
                <c:pt idx="272">
                  <c:v>1/5/21</c:v>
                </c:pt>
                <c:pt idx="273">
                  <c:v>1/6/21</c:v>
                </c:pt>
                <c:pt idx="274">
                  <c:v>1/7/21</c:v>
                </c:pt>
                <c:pt idx="275">
                  <c:v>1/8/21</c:v>
                </c:pt>
                <c:pt idx="276">
                  <c:v>1/9/21</c:v>
                </c:pt>
                <c:pt idx="277">
                  <c:v>1/10/21</c:v>
                </c:pt>
                <c:pt idx="278">
                  <c:v>1/11/21</c:v>
                </c:pt>
                <c:pt idx="279">
                  <c:v>1/12/21</c:v>
                </c:pt>
                <c:pt idx="280">
                  <c:v>1/13/21</c:v>
                </c:pt>
                <c:pt idx="281">
                  <c:v>1/14/21</c:v>
                </c:pt>
                <c:pt idx="282">
                  <c:v>1/15/21</c:v>
                </c:pt>
                <c:pt idx="283">
                  <c:v>1/16/21</c:v>
                </c:pt>
                <c:pt idx="284">
                  <c:v>1/17/21</c:v>
                </c:pt>
                <c:pt idx="285">
                  <c:v>1/18/21</c:v>
                </c:pt>
                <c:pt idx="286">
                  <c:v>1/19/21</c:v>
                </c:pt>
                <c:pt idx="287">
                  <c:v>1/20/21</c:v>
                </c:pt>
                <c:pt idx="288">
                  <c:v>1/21/21</c:v>
                </c:pt>
                <c:pt idx="289">
                  <c:v>1/22/21</c:v>
                </c:pt>
                <c:pt idx="290">
                  <c:v>1/23/21</c:v>
                </c:pt>
                <c:pt idx="291">
                  <c:v>1/24/21</c:v>
                </c:pt>
                <c:pt idx="292">
                  <c:v>1/25/21</c:v>
                </c:pt>
                <c:pt idx="293">
                  <c:v>1/26/21</c:v>
                </c:pt>
                <c:pt idx="294">
                  <c:v>1/27/21</c:v>
                </c:pt>
                <c:pt idx="295">
                  <c:v>1/28/21</c:v>
                </c:pt>
                <c:pt idx="296">
                  <c:v>1/29/21</c:v>
                </c:pt>
                <c:pt idx="297">
                  <c:v>1/30/21</c:v>
                </c:pt>
                <c:pt idx="298">
                  <c:v>1/31/21</c:v>
                </c:pt>
                <c:pt idx="299">
                  <c:v>2/1/21</c:v>
                </c:pt>
                <c:pt idx="300">
                  <c:v>2/2/21</c:v>
                </c:pt>
                <c:pt idx="301">
                  <c:v>2/3/21</c:v>
                </c:pt>
                <c:pt idx="302">
                  <c:v>2/4/21</c:v>
                </c:pt>
                <c:pt idx="303">
                  <c:v>2/5/21</c:v>
                </c:pt>
                <c:pt idx="304">
                  <c:v>2/6/21</c:v>
                </c:pt>
                <c:pt idx="305">
                  <c:v>2/7/21</c:v>
                </c:pt>
                <c:pt idx="306">
                  <c:v>2/8/21</c:v>
                </c:pt>
                <c:pt idx="307">
                  <c:v>2/9/21</c:v>
                </c:pt>
                <c:pt idx="308">
                  <c:v>2/10/21</c:v>
                </c:pt>
                <c:pt idx="309">
                  <c:v>2/11/21</c:v>
                </c:pt>
                <c:pt idx="310">
                  <c:v>2/12/21</c:v>
                </c:pt>
                <c:pt idx="311">
                  <c:v>2/13/21</c:v>
                </c:pt>
                <c:pt idx="312">
                  <c:v>2/14/21</c:v>
                </c:pt>
                <c:pt idx="313">
                  <c:v>2/15/21</c:v>
                </c:pt>
                <c:pt idx="314">
                  <c:v>2/16/21</c:v>
                </c:pt>
                <c:pt idx="315">
                  <c:v>2/17/21</c:v>
                </c:pt>
                <c:pt idx="316">
                  <c:v>2/18/21</c:v>
                </c:pt>
                <c:pt idx="317">
                  <c:v>2/19/21</c:v>
                </c:pt>
                <c:pt idx="318">
                  <c:v>2/20/21</c:v>
                </c:pt>
                <c:pt idx="319">
                  <c:v>2/21/21</c:v>
                </c:pt>
                <c:pt idx="320">
                  <c:v>2/22/21</c:v>
                </c:pt>
                <c:pt idx="321">
                  <c:v>2/23/21</c:v>
                </c:pt>
                <c:pt idx="322">
                  <c:v>2/24/21</c:v>
                </c:pt>
                <c:pt idx="323">
                  <c:v>2/25/21</c:v>
                </c:pt>
                <c:pt idx="324">
                  <c:v>2/26/21</c:v>
                </c:pt>
                <c:pt idx="325">
                  <c:v>2/27/21</c:v>
                </c:pt>
                <c:pt idx="326">
                  <c:v>2/28/21</c:v>
                </c:pt>
                <c:pt idx="327">
                  <c:v>3/1/21</c:v>
                </c:pt>
                <c:pt idx="328">
                  <c:v>3/2/21</c:v>
                </c:pt>
                <c:pt idx="329">
                  <c:v>3/3/21</c:v>
                </c:pt>
                <c:pt idx="330">
                  <c:v>3/4/21</c:v>
                </c:pt>
                <c:pt idx="331">
                  <c:v>3/5/21</c:v>
                </c:pt>
                <c:pt idx="332">
                  <c:v>3/6/21</c:v>
                </c:pt>
                <c:pt idx="333">
                  <c:v>3/7/21</c:v>
                </c:pt>
                <c:pt idx="334">
                  <c:v>3/8/21</c:v>
                </c:pt>
                <c:pt idx="335">
                  <c:v>3/9/21</c:v>
                </c:pt>
                <c:pt idx="336">
                  <c:v>3/10/21</c:v>
                </c:pt>
                <c:pt idx="337">
                  <c:v>3/11/21</c:v>
                </c:pt>
                <c:pt idx="338">
                  <c:v>3/12/21</c:v>
                </c:pt>
                <c:pt idx="339">
                  <c:v>3/13/21</c:v>
                </c:pt>
                <c:pt idx="340">
                  <c:v>3/14/21</c:v>
                </c:pt>
                <c:pt idx="341">
                  <c:v>3/15/21</c:v>
                </c:pt>
                <c:pt idx="342">
                  <c:v>3/16/21</c:v>
                </c:pt>
                <c:pt idx="343">
                  <c:v>3/17/21</c:v>
                </c:pt>
                <c:pt idx="344">
                  <c:v>3/18/21</c:v>
                </c:pt>
                <c:pt idx="345">
                  <c:v>3/19/21</c:v>
                </c:pt>
                <c:pt idx="346">
                  <c:v>3/20/21</c:v>
                </c:pt>
                <c:pt idx="347">
                  <c:v>3/21/21</c:v>
                </c:pt>
                <c:pt idx="348">
                  <c:v>3/22/21</c:v>
                </c:pt>
                <c:pt idx="349">
                  <c:v>3/23/21</c:v>
                </c:pt>
                <c:pt idx="350">
                  <c:v>3/24/21</c:v>
                </c:pt>
                <c:pt idx="351">
                  <c:v>3/25/21</c:v>
                </c:pt>
                <c:pt idx="352">
                  <c:v>3/26/21</c:v>
                </c:pt>
                <c:pt idx="353">
                  <c:v>3/27/21</c:v>
                </c:pt>
                <c:pt idx="354">
                  <c:v>3/28/21</c:v>
                </c:pt>
                <c:pt idx="355">
                  <c:v>3/29/21</c:v>
                </c:pt>
                <c:pt idx="356">
                  <c:v>3/30/21</c:v>
                </c:pt>
                <c:pt idx="357">
                  <c:v>3/31/21</c:v>
                </c:pt>
                <c:pt idx="358">
                  <c:v>4/1/21</c:v>
                </c:pt>
                <c:pt idx="359">
                  <c:v>4/2/21</c:v>
                </c:pt>
                <c:pt idx="360">
                  <c:v>4/3/21</c:v>
                </c:pt>
                <c:pt idx="361">
                  <c:v>4/4/21</c:v>
                </c:pt>
                <c:pt idx="362">
                  <c:v>4/5/21</c:v>
                </c:pt>
                <c:pt idx="363">
                  <c:v>4/6/21</c:v>
                </c:pt>
                <c:pt idx="364">
                  <c:v>4/7/21</c:v>
                </c:pt>
                <c:pt idx="365">
                  <c:v>4/8/21</c:v>
                </c:pt>
                <c:pt idx="366">
                  <c:v>4/9/21</c:v>
                </c:pt>
                <c:pt idx="367">
                  <c:v>4/10/21</c:v>
                </c:pt>
                <c:pt idx="368">
                  <c:v>4/11/21</c:v>
                </c:pt>
                <c:pt idx="369">
                  <c:v>4/12/21</c:v>
                </c:pt>
                <c:pt idx="370">
                  <c:v>4/13/21</c:v>
                </c:pt>
                <c:pt idx="371">
                  <c:v>4/14/21</c:v>
                </c:pt>
                <c:pt idx="372">
                  <c:v>4/15/21</c:v>
                </c:pt>
                <c:pt idx="373">
                  <c:v>4/16/21</c:v>
                </c:pt>
                <c:pt idx="374">
                  <c:v>4/17/21</c:v>
                </c:pt>
                <c:pt idx="375">
                  <c:v>4/18/21</c:v>
                </c:pt>
                <c:pt idx="376">
                  <c:v>4/19/21</c:v>
                </c:pt>
                <c:pt idx="377">
                  <c:v>4/20/21</c:v>
                </c:pt>
                <c:pt idx="378">
                  <c:v>4/21/21</c:v>
                </c:pt>
                <c:pt idx="379">
                  <c:v>4/22/21</c:v>
                </c:pt>
                <c:pt idx="380">
                  <c:v>4/23/21</c:v>
                </c:pt>
                <c:pt idx="381">
                  <c:v>4/24/21</c:v>
                </c:pt>
                <c:pt idx="382">
                  <c:v>4/25/21</c:v>
                </c:pt>
                <c:pt idx="383">
                  <c:v>4/26/21</c:v>
                </c:pt>
                <c:pt idx="384">
                  <c:v>4/27/21</c:v>
                </c:pt>
                <c:pt idx="385">
                  <c:v>4/28/21</c:v>
                </c:pt>
                <c:pt idx="386">
                  <c:v>4/29/21</c:v>
                </c:pt>
                <c:pt idx="387">
                  <c:v>4/30/21</c:v>
                </c:pt>
                <c:pt idx="388">
                  <c:v>5/1/21</c:v>
                </c:pt>
                <c:pt idx="389">
                  <c:v>5/2/21</c:v>
                </c:pt>
                <c:pt idx="390">
                  <c:v>5/3/21</c:v>
                </c:pt>
                <c:pt idx="391">
                  <c:v>5/4/21</c:v>
                </c:pt>
                <c:pt idx="392">
                  <c:v>5/5/21</c:v>
                </c:pt>
                <c:pt idx="393">
                  <c:v>5/6/21</c:v>
                </c:pt>
                <c:pt idx="394">
                  <c:v>5/7/21</c:v>
                </c:pt>
                <c:pt idx="395">
                  <c:v>5/8/21</c:v>
                </c:pt>
                <c:pt idx="396">
                  <c:v>5/9/21</c:v>
                </c:pt>
                <c:pt idx="397">
                  <c:v>5/10/21</c:v>
                </c:pt>
                <c:pt idx="398">
                  <c:v>5/11/21</c:v>
                </c:pt>
                <c:pt idx="399">
                  <c:v>5/12/21</c:v>
                </c:pt>
                <c:pt idx="400">
                  <c:v>5/13/21</c:v>
                </c:pt>
                <c:pt idx="401">
                  <c:v>5/14/21</c:v>
                </c:pt>
                <c:pt idx="402">
                  <c:v>5/15/21</c:v>
                </c:pt>
                <c:pt idx="403">
                  <c:v>5/16/21</c:v>
                </c:pt>
                <c:pt idx="404">
                  <c:v>5/17/21</c:v>
                </c:pt>
                <c:pt idx="405">
                  <c:v>5/18/21</c:v>
                </c:pt>
                <c:pt idx="406">
                  <c:v>5/19/21</c:v>
                </c:pt>
                <c:pt idx="407">
                  <c:v>5/20/21</c:v>
                </c:pt>
                <c:pt idx="408">
                  <c:v>5/21/21</c:v>
                </c:pt>
                <c:pt idx="409">
                  <c:v>5/22/21</c:v>
                </c:pt>
                <c:pt idx="410">
                  <c:v>5/23/21</c:v>
                </c:pt>
                <c:pt idx="411">
                  <c:v>5/24/21</c:v>
                </c:pt>
                <c:pt idx="412">
                  <c:v>5/25/21</c:v>
                </c:pt>
                <c:pt idx="413">
                  <c:v>5/26/21</c:v>
                </c:pt>
                <c:pt idx="414">
                  <c:v>5/27/21</c:v>
                </c:pt>
                <c:pt idx="415">
                  <c:v>5/28/21</c:v>
                </c:pt>
                <c:pt idx="416">
                  <c:v>5/29/21</c:v>
                </c:pt>
                <c:pt idx="417">
                  <c:v>5/30/21</c:v>
                </c:pt>
                <c:pt idx="418">
                  <c:v>5/31/21</c:v>
                </c:pt>
                <c:pt idx="419">
                  <c:v>6/1/21</c:v>
                </c:pt>
                <c:pt idx="420">
                  <c:v>6/2/21</c:v>
                </c:pt>
                <c:pt idx="421">
                  <c:v>6/3/21</c:v>
                </c:pt>
                <c:pt idx="422">
                  <c:v>6/4/21</c:v>
                </c:pt>
                <c:pt idx="423">
                  <c:v>6/5/21</c:v>
                </c:pt>
                <c:pt idx="424">
                  <c:v>6/6/21</c:v>
                </c:pt>
                <c:pt idx="425">
                  <c:v>6/7/21</c:v>
                </c:pt>
                <c:pt idx="426">
                  <c:v>6/8/21</c:v>
                </c:pt>
                <c:pt idx="427">
                  <c:v>6/9/21</c:v>
                </c:pt>
                <c:pt idx="428">
                  <c:v>6/10/21</c:v>
                </c:pt>
                <c:pt idx="429">
                  <c:v>6/11/21</c:v>
                </c:pt>
                <c:pt idx="430">
                  <c:v>6/12/21</c:v>
                </c:pt>
                <c:pt idx="431">
                  <c:v>6/13/21</c:v>
                </c:pt>
                <c:pt idx="432">
                  <c:v>6/14/21</c:v>
                </c:pt>
                <c:pt idx="433">
                  <c:v>6/15/21</c:v>
                </c:pt>
                <c:pt idx="434">
                  <c:v>6/16/21</c:v>
                </c:pt>
                <c:pt idx="435">
                  <c:v>6/17/21</c:v>
                </c:pt>
                <c:pt idx="436">
                  <c:v>6/18/21</c:v>
                </c:pt>
                <c:pt idx="437">
                  <c:v>6/19/21</c:v>
                </c:pt>
                <c:pt idx="438">
                  <c:v>6/20/21</c:v>
                </c:pt>
                <c:pt idx="439">
                  <c:v>6/21/21</c:v>
                </c:pt>
                <c:pt idx="440">
                  <c:v>6/22/21</c:v>
                </c:pt>
                <c:pt idx="441">
                  <c:v>6/23/21</c:v>
                </c:pt>
                <c:pt idx="442">
                  <c:v>6/24/21</c:v>
                </c:pt>
                <c:pt idx="443">
                  <c:v>6/25/21</c:v>
                </c:pt>
                <c:pt idx="444">
                  <c:v>6/26/21</c:v>
                </c:pt>
                <c:pt idx="445">
                  <c:v>6/27/21</c:v>
                </c:pt>
                <c:pt idx="446">
                  <c:v>6/28/21</c:v>
                </c:pt>
                <c:pt idx="447">
                  <c:v>6/29/21</c:v>
                </c:pt>
                <c:pt idx="448">
                  <c:v>6/30/21</c:v>
                </c:pt>
                <c:pt idx="449">
                  <c:v>7/1/21</c:v>
                </c:pt>
                <c:pt idx="450">
                  <c:v>7/2/21</c:v>
                </c:pt>
                <c:pt idx="451">
                  <c:v>7/3/21</c:v>
                </c:pt>
                <c:pt idx="452">
                  <c:v>7/4/21</c:v>
                </c:pt>
                <c:pt idx="453">
                  <c:v>7/5/21</c:v>
                </c:pt>
                <c:pt idx="454">
                  <c:v>7/6/21</c:v>
                </c:pt>
                <c:pt idx="455">
                  <c:v>7/7/21</c:v>
                </c:pt>
                <c:pt idx="456">
                  <c:v>7/8/21</c:v>
                </c:pt>
                <c:pt idx="457">
                  <c:v>7/9/21</c:v>
                </c:pt>
                <c:pt idx="458">
                  <c:v>7/10/21</c:v>
                </c:pt>
                <c:pt idx="459">
                  <c:v>7/11/21</c:v>
                </c:pt>
                <c:pt idx="460">
                  <c:v>7/12/21</c:v>
                </c:pt>
                <c:pt idx="461">
                  <c:v>7/13/21</c:v>
                </c:pt>
                <c:pt idx="462">
                  <c:v>7/14/21</c:v>
                </c:pt>
                <c:pt idx="463">
                  <c:v>7/15/21</c:v>
                </c:pt>
                <c:pt idx="464">
                  <c:v>7/16/21</c:v>
                </c:pt>
                <c:pt idx="465">
                  <c:v>7/17/21</c:v>
                </c:pt>
                <c:pt idx="466">
                  <c:v>7/18/21</c:v>
                </c:pt>
                <c:pt idx="467">
                  <c:v>7/19/21</c:v>
                </c:pt>
                <c:pt idx="468">
                  <c:v>7/20/21</c:v>
                </c:pt>
                <c:pt idx="469">
                  <c:v>7/21/21</c:v>
                </c:pt>
                <c:pt idx="470">
                  <c:v>7/22/21</c:v>
                </c:pt>
                <c:pt idx="471">
                  <c:v>7/23/21</c:v>
                </c:pt>
                <c:pt idx="472">
                  <c:v>7/24/21</c:v>
                </c:pt>
                <c:pt idx="473">
                  <c:v>7/25/21</c:v>
                </c:pt>
                <c:pt idx="474">
                  <c:v>7/26/21</c:v>
                </c:pt>
                <c:pt idx="475">
                  <c:v>7/27/21</c:v>
                </c:pt>
                <c:pt idx="476">
                  <c:v>7/28/21</c:v>
                </c:pt>
                <c:pt idx="477">
                  <c:v>7/29/21</c:v>
                </c:pt>
                <c:pt idx="478">
                  <c:v>7/30/21</c:v>
                </c:pt>
                <c:pt idx="479">
                  <c:v>7/31/21</c:v>
                </c:pt>
                <c:pt idx="480">
                  <c:v>8/1/21</c:v>
                </c:pt>
                <c:pt idx="481">
                  <c:v>8/2/21</c:v>
                </c:pt>
                <c:pt idx="482">
                  <c:v>8/3/21</c:v>
                </c:pt>
                <c:pt idx="483">
                  <c:v>8/4/21</c:v>
                </c:pt>
                <c:pt idx="484">
                  <c:v>8/5/21</c:v>
                </c:pt>
                <c:pt idx="485">
                  <c:v>8/6/21</c:v>
                </c:pt>
                <c:pt idx="486">
                  <c:v>8/7/21</c:v>
                </c:pt>
                <c:pt idx="487">
                  <c:v>8/8/21</c:v>
                </c:pt>
                <c:pt idx="488">
                  <c:v>8/9/21</c:v>
                </c:pt>
                <c:pt idx="489">
                  <c:v>8/10/21</c:v>
                </c:pt>
                <c:pt idx="490">
                  <c:v>8/11/21</c:v>
                </c:pt>
                <c:pt idx="491">
                  <c:v>8/12/21</c:v>
                </c:pt>
                <c:pt idx="492">
                  <c:v>8/13/21</c:v>
                </c:pt>
                <c:pt idx="493">
                  <c:v>8/14/21</c:v>
                </c:pt>
                <c:pt idx="494">
                  <c:v>8/15/21</c:v>
                </c:pt>
                <c:pt idx="495">
                  <c:v>8/16/21</c:v>
                </c:pt>
                <c:pt idx="496">
                  <c:v>8/17/21</c:v>
                </c:pt>
                <c:pt idx="497">
                  <c:v>8/18/21</c:v>
                </c:pt>
                <c:pt idx="498">
                  <c:v>8/19/21</c:v>
                </c:pt>
                <c:pt idx="499">
                  <c:v>8/20/21</c:v>
                </c:pt>
                <c:pt idx="500">
                  <c:v>8/21/21</c:v>
                </c:pt>
                <c:pt idx="501">
                  <c:v>8/22/21</c:v>
                </c:pt>
                <c:pt idx="502">
                  <c:v>8/23/21</c:v>
                </c:pt>
                <c:pt idx="503">
                  <c:v>8/24/21</c:v>
                </c:pt>
                <c:pt idx="504">
                  <c:v>8/25/21</c:v>
                </c:pt>
                <c:pt idx="505">
                  <c:v>8/26/21</c:v>
                </c:pt>
                <c:pt idx="506">
                  <c:v>8/27/21</c:v>
                </c:pt>
                <c:pt idx="507">
                  <c:v>8/28/21</c:v>
                </c:pt>
                <c:pt idx="508">
                  <c:v>8/29/21</c:v>
                </c:pt>
                <c:pt idx="509">
                  <c:v>8/30/21</c:v>
                </c:pt>
                <c:pt idx="510">
                  <c:v>8/31/21</c:v>
                </c:pt>
                <c:pt idx="511">
                  <c:v>9/1/21</c:v>
                </c:pt>
                <c:pt idx="512">
                  <c:v>9/2/21</c:v>
                </c:pt>
                <c:pt idx="513">
                  <c:v>9/3/21</c:v>
                </c:pt>
                <c:pt idx="514">
                  <c:v>9/4/21</c:v>
                </c:pt>
                <c:pt idx="515">
                  <c:v>9/5/21</c:v>
                </c:pt>
                <c:pt idx="516">
                  <c:v>9/6/21</c:v>
                </c:pt>
                <c:pt idx="517">
                  <c:v>9/7/21</c:v>
                </c:pt>
                <c:pt idx="518">
                  <c:v>9/8/21</c:v>
                </c:pt>
                <c:pt idx="519">
                  <c:v>9/9/21</c:v>
                </c:pt>
                <c:pt idx="520">
                  <c:v>9/10/21</c:v>
                </c:pt>
                <c:pt idx="521">
                  <c:v>9/11/21</c:v>
                </c:pt>
                <c:pt idx="522">
                  <c:v>9/12/21</c:v>
                </c:pt>
                <c:pt idx="523">
                  <c:v>9/13/21</c:v>
                </c:pt>
                <c:pt idx="524">
                  <c:v>9/14/21</c:v>
                </c:pt>
                <c:pt idx="525">
                  <c:v>9/15/21</c:v>
                </c:pt>
                <c:pt idx="526">
                  <c:v>9/16/21</c:v>
                </c:pt>
                <c:pt idx="527">
                  <c:v>9/17/21</c:v>
                </c:pt>
                <c:pt idx="528">
                  <c:v>9/18/21</c:v>
                </c:pt>
                <c:pt idx="529">
                  <c:v>9/19/21</c:v>
                </c:pt>
                <c:pt idx="530">
                  <c:v>9/20/21</c:v>
                </c:pt>
                <c:pt idx="531">
                  <c:v>9/21/21</c:v>
                </c:pt>
                <c:pt idx="532">
                  <c:v>9/22/21</c:v>
                </c:pt>
                <c:pt idx="533">
                  <c:v>9/23/21</c:v>
                </c:pt>
                <c:pt idx="534">
                  <c:v>9/24/21</c:v>
                </c:pt>
                <c:pt idx="535">
                  <c:v>9/25/21</c:v>
                </c:pt>
                <c:pt idx="536">
                  <c:v>9/26/21</c:v>
                </c:pt>
                <c:pt idx="537">
                  <c:v>9/27/21</c:v>
                </c:pt>
                <c:pt idx="538">
                  <c:v>9/28/21</c:v>
                </c:pt>
                <c:pt idx="539">
                  <c:v>9/29/21</c:v>
                </c:pt>
                <c:pt idx="540">
                  <c:v>9/30/21</c:v>
                </c:pt>
                <c:pt idx="541">
                  <c:v>10/1/21</c:v>
                </c:pt>
                <c:pt idx="542">
                  <c:v>10/2/21</c:v>
                </c:pt>
                <c:pt idx="543">
                  <c:v>10/3/21</c:v>
                </c:pt>
                <c:pt idx="544">
                  <c:v>10/4/21</c:v>
                </c:pt>
                <c:pt idx="545">
                  <c:v>10/5/21</c:v>
                </c:pt>
                <c:pt idx="546">
                  <c:v>10/6/21</c:v>
                </c:pt>
                <c:pt idx="547">
                  <c:v>10/7/21</c:v>
                </c:pt>
                <c:pt idx="548">
                  <c:v>10/8/21</c:v>
                </c:pt>
                <c:pt idx="549">
                  <c:v>10/9/21</c:v>
                </c:pt>
                <c:pt idx="550">
                  <c:v>10/10/21</c:v>
                </c:pt>
              </c:strCache>
            </c:strRef>
          </c:cat>
          <c:val>
            <c:numRef>
              <c:f>chart!$B$4:$B$555</c:f>
              <c:numCache>
                <c:formatCode>General</c:formatCode>
                <c:ptCount val="551"/>
                <c:pt idx="0">
                  <c:v>386</c:v>
                </c:pt>
                <c:pt idx="1">
                  <c:v>398</c:v>
                </c:pt>
                <c:pt idx="2">
                  <c:v>423</c:v>
                </c:pt>
                <c:pt idx="3">
                  <c:v>362</c:v>
                </c:pt>
                <c:pt idx="4">
                  <c:v>331</c:v>
                </c:pt>
                <c:pt idx="5">
                  <c:v>313</c:v>
                </c:pt>
                <c:pt idx="6">
                  <c:v>418</c:v>
                </c:pt>
                <c:pt idx="7">
                  <c:v>431</c:v>
                </c:pt>
                <c:pt idx="8">
                  <c:v>452</c:v>
                </c:pt>
                <c:pt idx="9">
                  <c:v>429</c:v>
                </c:pt>
                <c:pt idx="10">
                  <c:v>388</c:v>
                </c:pt>
                <c:pt idx="11">
                  <c:v>465</c:v>
                </c:pt>
                <c:pt idx="12">
                  <c:v>373</c:v>
                </c:pt>
                <c:pt idx="13">
                  <c:v>427</c:v>
                </c:pt>
                <c:pt idx="14">
                  <c:v>434</c:v>
                </c:pt>
                <c:pt idx="15">
                  <c:v>486</c:v>
                </c:pt>
                <c:pt idx="16">
                  <c:v>477</c:v>
                </c:pt>
                <c:pt idx="17">
                  <c:v>456</c:v>
                </c:pt>
                <c:pt idx="18">
                  <c:v>451</c:v>
                </c:pt>
                <c:pt idx="19">
                  <c:v>473</c:v>
                </c:pt>
                <c:pt idx="20">
                  <c:v>463</c:v>
                </c:pt>
                <c:pt idx="21">
                  <c:v>551</c:v>
                </c:pt>
                <c:pt idx="22">
                  <c:v>546</c:v>
                </c:pt>
                <c:pt idx="23">
                  <c:v>547</c:v>
                </c:pt>
                <c:pt idx="24">
                  <c:v>502</c:v>
                </c:pt>
                <c:pt idx="25">
                  <c:v>475</c:v>
                </c:pt>
                <c:pt idx="26">
                  <c:v>498</c:v>
                </c:pt>
                <c:pt idx="27">
                  <c:v>534</c:v>
                </c:pt>
                <c:pt idx="28">
                  <c:v>516</c:v>
                </c:pt>
                <c:pt idx="29">
                  <c:v>525</c:v>
                </c:pt>
                <c:pt idx="30">
                  <c:v>515</c:v>
                </c:pt>
                <c:pt idx="31">
                  <c:v>513</c:v>
                </c:pt>
                <c:pt idx="32">
                  <c:v>442</c:v>
                </c:pt>
                <c:pt idx="33">
                  <c:v>464</c:v>
                </c:pt>
                <c:pt idx="34">
                  <c:v>475</c:v>
                </c:pt>
                <c:pt idx="35">
                  <c:v>521</c:v>
                </c:pt>
                <c:pt idx="36">
                  <c:v>507</c:v>
                </c:pt>
                <c:pt idx="37">
                  <c:v>492</c:v>
                </c:pt>
                <c:pt idx="38">
                  <c:v>481</c:v>
                </c:pt>
                <c:pt idx="39">
                  <c:v>493</c:v>
                </c:pt>
                <c:pt idx="40">
                  <c:v>511</c:v>
                </c:pt>
                <c:pt idx="41">
                  <c:v>585</c:v>
                </c:pt>
                <c:pt idx="42">
                  <c:v>554</c:v>
                </c:pt>
                <c:pt idx="43">
                  <c:v>578</c:v>
                </c:pt>
                <c:pt idx="44">
                  <c:v>568</c:v>
                </c:pt>
                <c:pt idx="45">
                  <c:v>589</c:v>
                </c:pt>
                <c:pt idx="46">
                  <c:v>587</c:v>
                </c:pt>
                <c:pt idx="47">
                  <c:v>627</c:v>
                </c:pt>
                <c:pt idx="48">
                  <c:v>621</c:v>
                </c:pt>
                <c:pt idx="49">
                  <c:v>702</c:v>
                </c:pt>
                <c:pt idx="50">
                  <c:v>708</c:v>
                </c:pt>
                <c:pt idx="51">
                  <c:v>680</c:v>
                </c:pt>
                <c:pt idx="52">
                  <c:v>638</c:v>
                </c:pt>
                <c:pt idx="53">
                  <c:v>649</c:v>
                </c:pt>
                <c:pt idx="54">
                  <c:v>650</c:v>
                </c:pt>
                <c:pt idx="55">
                  <c:v>716</c:v>
                </c:pt>
                <c:pt idx="56">
                  <c:v>684</c:v>
                </c:pt>
                <c:pt idx="57">
                  <c:v>659</c:v>
                </c:pt>
                <c:pt idx="58">
                  <c:v>717</c:v>
                </c:pt>
                <c:pt idx="59">
                  <c:v>708</c:v>
                </c:pt>
                <c:pt idx="60">
                  <c:v>696</c:v>
                </c:pt>
                <c:pt idx="61">
                  <c:v>739</c:v>
                </c:pt>
                <c:pt idx="62">
                  <c:v>774</c:v>
                </c:pt>
                <c:pt idx="63">
                  <c:v>780</c:v>
                </c:pt>
                <c:pt idx="64">
                  <c:v>812</c:v>
                </c:pt>
                <c:pt idx="65">
                  <c:v>760</c:v>
                </c:pt>
                <c:pt idx="66">
                  <c:v>823</c:v>
                </c:pt>
                <c:pt idx="67">
                  <c:v>798</c:v>
                </c:pt>
                <c:pt idx="68">
                  <c:v>797</c:v>
                </c:pt>
                <c:pt idx="69">
                  <c:v>829</c:v>
                </c:pt>
                <c:pt idx="70">
                  <c:v>846</c:v>
                </c:pt>
                <c:pt idx="71">
                  <c:v>857</c:v>
                </c:pt>
                <c:pt idx="72">
                  <c:v>871</c:v>
                </c:pt>
                <c:pt idx="73">
                  <c:v>883</c:v>
                </c:pt>
                <c:pt idx="74">
                  <c:v>845</c:v>
                </c:pt>
                <c:pt idx="75">
                  <c:v>870</c:v>
                </c:pt>
                <c:pt idx="76">
                  <c:v>915</c:v>
                </c:pt>
                <c:pt idx="77">
                  <c:v>906</c:v>
                </c:pt>
                <c:pt idx="78">
                  <c:v>891</c:v>
                </c:pt>
                <c:pt idx="79">
                  <c:v>892</c:v>
                </c:pt>
                <c:pt idx="80">
                  <c:v>888</c:v>
                </c:pt>
                <c:pt idx="81">
                  <c:v>890</c:v>
                </c:pt>
                <c:pt idx="82">
                  <c:v>843</c:v>
                </c:pt>
                <c:pt idx="83">
                  <c:v>908</c:v>
                </c:pt>
                <c:pt idx="84">
                  <c:v>901</c:v>
                </c:pt>
                <c:pt idx="85">
                  <c:v>912</c:v>
                </c:pt>
                <c:pt idx="86">
                  <c:v>951</c:v>
                </c:pt>
                <c:pt idx="87">
                  <c:v>945</c:v>
                </c:pt>
                <c:pt idx="88">
                  <c:v>949</c:v>
                </c:pt>
                <c:pt idx="89">
                  <c:v>982</c:v>
                </c:pt>
                <c:pt idx="90">
                  <c:v>989</c:v>
                </c:pt>
                <c:pt idx="91">
                  <c:v>994</c:v>
                </c:pt>
                <c:pt idx="92">
                  <c:v>1034</c:v>
                </c:pt>
                <c:pt idx="93">
                  <c:v>1046</c:v>
                </c:pt>
                <c:pt idx="94">
                  <c:v>1093</c:v>
                </c:pt>
                <c:pt idx="95">
                  <c:v>1070</c:v>
                </c:pt>
                <c:pt idx="96">
                  <c:v>1040</c:v>
                </c:pt>
                <c:pt idx="97">
                  <c:v>1109</c:v>
                </c:pt>
                <c:pt idx="98">
                  <c:v>1142</c:v>
                </c:pt>
                <c:pt idx="99">
                  <c:v>1134</c:v>
                </c:pt>
                <c:pt idx="100">
                  <c:v>1180</c:v>
                </c:pt>
                <c:pt idx="101">
                  <c:v>1112</c:v>
                </c:pt>
                <c:pt idx="102">
                  <c:v>1086</c:v>
                </c:pt>
                <c:pt idx="103">
                  <c:v>1213</c:v>
                </c:pt>
                <c:pt idx="104">
                  <c:v>1225</c:v>
                </c:pt>
                <c:pt idx="105">
                  <c:v>1228</c:v>
                </c:pt>
                <c:pt idx="106">
                  <c:v>1182</c:v>
                </c:pt>
                <c:pt idx="107">
                  <c:v>1179</c:v>
                </c:pt>
                <c:pt idx="108">
                  <c:v>1170</c:v>
                </c:pt>
                <c:pt idx="109">
                  <c:v>1169</c:v>
                </c:pt>
                <c:pt idx="110">
                  <c:v>1197</c:v>
                </c:pt>
                <c:pt idx="111">
                  <c:v>1236</c:v>
                </c:pt>
                <c:pt idx="112">
                  <c:v>1202</c:v>
                </c:pt>
                <c:pt idx="113">
                  <c:v>1180</c:v>
                </c:pt>
                <c:pt idx="114">
                  <c:v>1133</c:v>
                </c:pt>
                <c:pt idx="115">
                  <c:v>1129</c:v>
                </c:pt>
                <c:pt idx="116">
                  <c:v>1057</c:v>
                </c:pt>
                <c:pt idx="117">
                  <c:v>1154</c:v>
                </c:pt>
                <c:pt idx="118">
                  <c:v>1150</c:v>
                </c:pt>
                <c:pt idx="119">
                  <c:v>1150</c:v>
                </c:pt>
                <c:pt idx="120">
                  <c:v>1123</c:v>
                </c:pt>
                <c:pt idx="121">
                  <c:v>1129</c:v>
                </c:pt>
                <c:pt idx="122">
                  <c:v>1109</c:v>
                </c:pt>
                <c:pt idx="123">
                  <c:v>1111</c:v>
                </c:pt>
                <c:pt idx="124">
                  <c:v>1105</c:v>
                </c:pt>
                <c:pt idx="125">
                  <c:v>1062</c:v>
                </c:pt>
                <c:pt idx="126">
                  <c:v>1047</c:v>
                </c:pt>
                <c:pt idx="127">
                  <c:v>1043</c:v>
                </c:pt>
                <c:pt idx="128">
                  <c:v>1025</c:v>
                </c:pt>
                <c:pt idx="129">
                  <c:v>934</c:v>
                </c:pt>
                <c:pt idx="130">
                  <c:v>980</c:v>
                </c:pt>
                <c:pt idx="131">
                  <c:v>1016</c:v>
                </c:pt>
                <c:pt idx="132">
                  <c:v>1001</c:v>
                </c:pt>
                <c:pt idx="133">
                  <c:v>1015</c:v>
                </c:pt>
                <c:pt idx="134">
                  <c:v>1013</c:v>
                </c:pt>
                <c:pt idx="135">
                  <c:v>996</c:v>
                </c:pt>
                <c:pt idx="136">
                  <c:v>898</c:v>
                </c:pt>
                <c:pt idx="137">
                  <c:v>948</c:v>
                </c:pt>
                <c:pt idx="138">
                  <c:v>986</c:v>
                </c:pt>
                <c:pt idx="139">
                  <c:v>985</c:v>
                </c:pt>
                <c:pt idx="140">
                  <c:v>958</c:v>
                </c:pt>
                <c:pt idx="141">
                  <c:v>970</c:v>
                </c:pt>
                <c:pt idx="142">
                  <c:v>954</c:v>
                </c:pt>
                <c:pt idx="143">
                  <c:v>918</c:v>
                </c:pt>
                <c:pt idx="144">
                  <c:v>923</c:v>
                </c:pt>
                <c:pt idx="145">
                  <c:v>946</c:v>
                </c:pt>
                <c:pt idx="146">
                  <c:v>952</c:v>
                </c:pt>
                <c:pt idx="147">
                  <c:v>969</c:v>
                </c:pt>
                <c:pt idx="148">
                  <c:v>955</c:v>
                </c:pt>
                <c:pt idx="149">
                  <c:v>948</c:v>
                </c:pt>
                <c:pt idx="150">
                  <c:v>916</c:v>
                </c:pt>
                <c:pt idx="151">
                  <c:v>901</c:v>
                </c:pt>
                <c:pt idx="152">
                  <c:v>918</c:v>
                </c:pt>
                <c:pt idx="153">
                  <c:v>910</c:v>
                </c:pt>
                <c:pt idx="154">
                  <c:v>928</c:v>
                </c:pt>
                <c:pt idx="155">
                  <c:v>938</c:v>
                </c:pt>
                <c:pt idx="156">
                  <c:v>868</c:v>
                </c:pt>
                <c:pt idx="157">
                  <c:v>817</c:v>
                </c:pt>
                <c:pt idx="158">
                  <c:v>895</c:v>
                </c:pt>
                <c:pt idx="159">
                  <c:v>906</c:v>
                </c:pt>
                <c:pt idx="160">
                  <c:v>918</c:v>
                </c:pt>
                <c:pt idx="161">
                  <c:v>894</c:v>
                </c:pt>
                <c:pt idx="162">
                  <c:v>902</c:v>
                </c:pt>
                <c:pt idx="163">
                  <c:v>883</c:v>
                </c:pt>
                <c:pt idx="164">
                  <c:v>889</c:v>
                </c:pt>
                <c:pt idx="165">
                  <c:v>885</c:v>
                </c:pt>
                <c:pt idx="166">
                  <c:v>888</c:v>
                </c:pt>
                <c:pt idx="167">
                  <c:v>912</c:v>
                </c:pt>
                <c:pt idx="168">
                  <c:v>902</c:v>
                </c:pt>
                <c:pt idx="169">
                  <c:v>897</c:v>
                </c:pt>
                <c:pt idx="170">
                  <c:v>909</c:v>
                </c:pt>
                <c:pt idx="171">
                  <c:v>909</c:v>
                </c:pt>
                <c:pt idx="172">
                  <c:v>897</c:v>
                </c:pt>
                <c:pt idx="173">
                  <c:v>941</c:v>
                </c:pt>
                <c:pt idx="174">
                  <c:v>946</c:v>
                </c:pt>
                <c:pt idx="175">
                  <c:v>939</c:v>
                </c:pt>
                <c:pt idx="176">
                  <c:v>921</c:v>
                </c:pt>
                <c:pt idx="177">
                  <c:v>914</c:v>
                </c:pt>
                <c:pt idx="178">
                  <c:v>902</c:v>
                </c:pt>
                <c:pt idx="179">
                  <c:v>971</c:v>
                </c:pt>
                <c:pt idx="180">
                  <c:v>998</c:v>
                </c:pt>
                <c:pt idx="181">
                  <c:v>1023</c:v>
                </c:pt>
                <c:pt idx="182">
                  <c:v>1040</c:v>
                </c:pt>
                <c:pt idx="183">
                  <c:v>1056</c:v>
                </c:pt>
                <c:pt idx="184">
                  <c:v>1034</c:v>
                </c:pt>
                <c:pt idx="185">
                  <c:v>1045</c:v>
                </c:pt>
                <c:pt idx="186">
                  <c:v>1109</c:v>
                </c:pt>
                <c:pt idx="187">
                  <c:v>1129</c:v>
                </c:pt>
                <c:pt idx="188">
                  <c:v>1152</c:v>
                </c:pt>
                <c:pt idx="189">
                  <c:v>1131</c:v>
                </c:pt>
                <c:pt idx="190">
                  <c:v>1148</c:v>
                </c:pt>
                <c:pt idx="191">
                  <c:v>1134</c:v>
                </c:pt>
                <c:pt idx="192">
                  <c:v>1129</c:v>
                </c:pt>
                <c:pt idx="193">
                  <c:v>1142</c:v>
                </c:pt>
                <c:pt idx="194">
                  <c:v>1203</c:v>
                </c:pt>
                <c:pt idx="195">
                  <c:v>1202</c:v>
                </c:pt>
                <c:pt idx="196">
                  <c:v>1205</c:v>
                </c:pt>
                <c:pt idx="197">
                  <c:v>1181</c:v>
                </c:pt>
                <c:pt idx="198">
                  <c:v>1167</c:v>
                </c:pt>
                <c:pt idx="199">
                  <c:v>1153</c:v>
                </c:pt>
                <c:pt idx="200">
                  <c:v>1193</c:v>
                </c:pt>
                <c:pt idx="201">
                  <c:v>1211</c:v>
                </c:pt>
                <c:pt idx="202">
                  <c:v>1175</c:v>
                </c:pt>
                <c:pt idx="203">
                  <c:v>1179</c:v>
                </c:pt>
                <c:pt idx="204">
                  <c:v>1201</c:v>
                </c:pt>
                <c:pt idx="205">
                  <c:v>1172</c:v>
                </c:pt>
                <c:pt idx="206">
                  <c:v>1138</c:v>
                </c:pt>
                <c:pt idx="207">
                  <c:v>1146</c:v>
                </c:pt>
                <c:pt idx="208">
                  <c:v>1175</c:v>
                </c:pt>
                <c:pt idx="209">
                  <c:v>1185</c:v>
                </c:pt>
                <c:pt idx="210">
                  <c:v>1181</c:v>
                </c:pt>
                <c:pt idx="211">
                  <c:v>1165</c:v>
                </c:pt>
                <c:pt idx="212">
                  <c:v>1189</c:v>
                </c:pt>
                <c:pt idx="213">
                  <c:v>1138</c:v>
                </c:pt>
                <c:pt idx="214">
                  <c:v>1169</c:v>
                </c:pt>
                <c:pt idx="215">
                  <c:v>1230</c:v>
                </c:pt>
                <c:pt idx="216">
                  <c:v>1251</c:v>
                </c:pt>
                <c:pt idx="217">
                  <c:v>1267</c:v>
                </c:pt>
                <c:pt idx="218">
                  <c:v>1423</c:v>
                </c:pt>
                <c:pt idx="219">
                  <c:v>1419</c:v>
                </c:pt>
                <c:pt idx="220">
                  <c:v>1404</c:v>
                </c:pt>
                <c:pt idx="221">
                  <c:v>1424</c:v>
                </c:pt>
                <c:pt idx="222">
                  <c:v>1501</c:v>
                </c:pt>
                <c:pt idx="223">
                  <c:v>1512</c:v>
                </c:pt>
                <c:pt idx="224">
                  <c:v>1533</c:v>
                </c:pt>
                <c:pt idx="225">
                  <c:v>1573</c:v>
                </c:pt>
                <c:pt idx="226">
                  <c:v>1590</c:v>
                </c:pt>
                <c:pt idx="227">
                  <c:v>1571</c:v>
                </c:pt>
                <c:pt idx="228">
                  <c:v>1601</c:v>
                </c:pt>
                <c:pt idx="229">
                  <c:v>1724</c:v>
                </c:pt>
                <c:pt idx="230">
                  <c:v>1800</c:v>
                </c:pt>
                <c:pt idx="231">
                  <c:v>1788</c:v>
                </c:pt>
                <c:pt idx="232">
                  <c:v>1806</c:v>
                </c:pt>
                <c:pt idx="233">
                  <c:v>1826</c:v>
                </c:pt>
                <c:pt idx="234">
                  <c:v>1879</c:v>
                </c:pt>
                <c:pt idx="235">
                  <c:v>1956</c:v>
                </c:pt>
                <c:pt idx="236">
                  <c:v>2033</c:v>
                </c:pt>
                <c:pt idx="237">
                  <c:v>2023</c:v>
                </c:pt>
                <c:pt idx="238">
                  <c:v>2090</c:v>
                </c:pt>
                <c:pt idx="239">
                  <c:v>2148</c:v>
                </c:pt>
                <c:pt idx="240">
                  <c:v>2171</c:v>
                </c:pt>
                <c:pt idx="241">
                  <c:v>2198</c:v>
                </c:pt>
                <c:pt idx="242">
                  <c:v>2240</c:v>
                </c:pt>
                <c:pt idx="243">
                  <c:v>2373</c:v>
                </c:pt>
                <c:pt idx="244">
                  <c:v>2440</c:v>
                </c:pt>
                <c:pt idx="245">
                  <c:v>2444</c:v>
                </c:pt>
                <c:pt idx="246">
                  <c:v>2514</c:v>
                </c:pt>
                <c:pt idx="247">
                  <c:v>2545</c:v>
                </c:pt>
                <c:pt idx="248">
                  <c:v>2527</c:v>
                </c:pt>
                <c:pt idx="249">
                  <c:v>2553</c:v>
                </c:pt>
                <c:pt idx="250">
                  <c:v>2735</c:v>
                </c:pt>
                <c:pt idx="251">
                  <c:v>2798</c:v>
                </c:pt>
                <c:pt idx="252">
                  <c:v>2806</c:v>
                </c:pt>
                <c:pt idx="253">
                  <c:v>2866</c:v>
                </c:pt>
                <c:pt idx="254">
                  <c:v>2846</c:v>
                </c:pt>
                <c:pt idx="255">
                  <c:v>2777</c:v>
                </c:pt>
                <c:pt idx="256">
                  <c:v>2817</c:v>
                </c:pt>
                <c:pt idx="257">
                  <c:v>3001</c:v>
                </c:pt>
                <c:pt idx="258">
                  <c:v>3043</c:v>
                </c:pt>
                <c:pt idx="259">
                  <c:v>3098</c:v>
                </c:pt>
                <c:pt idx="260">
                  <c:v>3060</c:v>
                </c:pt>
                <c:pt idx="261">
                  <c:v>3059</c:v>
                </c:pt>
                <c:pt idx="262">
                  <c:v>3128</c:v>
                </c:pt>
                <c:pt idx="263">
                  <c:v>3192</c:v>
                </c:pt>
                <c:pt idx="264">
                  <c:v>3377</c:v>
                </c:pt>
                <c:pt idx="265">
                  <c:v>3354</c:v>
                </c:pt>
                <c:pt idx="266">
                  <c:v>3473</c:v>
                </c:pt>
                <c:pt idx="267">
                  <c:v>3472</c:v>
                </c:pt>
                <c:pt idx="268">
                  <c:v>3479</c:v>
                </c:pt>
                <c:pt idx="269">
                  <c:v>3576</c:v>
                </c:pt>
                <c:pt idx="270">
                  <c:v>3635</c:v>
                </c:pt>
                <c:pt idx="271">
                  <c:v>3781</c:v>
                </c:pt>
                <c:pt idx="272">
                  <c:v>3893</c:v>
                </c:pt>
                <c:pt idx="273">
                  <c:v>3960</c:v>
                </c:pt>
                <c:pt idx="274">
                  <c:v>3938</c:v>
                </c:pt>
                <c:pt idx="275">
                  <c:v>3871</c:v>
                </c:pt>
                <c:pt idx="276">
                  <c:v>3788</c:v>
                </c:pt>
                <c:pt idx="277">
                  <c:v>3858</c:v>
                </c:pt>
                <c:pt idx="278">
                  <c:v>3940</c:v>
                </c:pt>
                <c:pt idx="279">
                  <c:v>3984</c:v>
                </c:pt>
                <c:pt idx="280">
                  <c:v>3992</c:v>
                </c:pt>
                <c:pt idx="281">
                  <c:v>3957</c:v>
                </c:pt>
                <c:pt idx="282">
                  <c:v>3897</c:v>
                </c:pt>
                <c:pt idx="283">
                  <c:v>3862</c:v>
                </c:pt>
                <c:pt idx="284">
                  <c:v>3898</c:v>
                </c:pt>
                <c:pt idx="285">
                  <c:v>3881</c:v>
                </c:pt>
                <c:pt idx="286">
                  <c:v>3740</c:v>
                </c:pt>
                <c:pt idx="287">
                  <c:v>3666</c:v>
                </c:pt>
                <c:pt idx="288">
                  <c:v>3536</c:v>
                </c:pt>
                <c:pt idx="289">
                  <c:v>3459</c:v>
                </c:pt>
                <c:pt idx="290">
                  <c:v>3324</c:v>
                </c:pt>
                <c:pt idx="291">
                  <c:v>3296</c:v>
                </c:pt>
                <c:pt idx="292">
                  <c:v>3368</c:v>
                </c:pt>
                <c:pt idx="293">
                  <c:v>3305</c:v>
                </c:pt>
                <c:pt idx="294">
                  <c:v>3229</c:v>
                </c:pt>
                <c:pt idx="295">
                  <c:v>3048</c:v>
                </c:pt>
                <c:pt idx="296">
                  <c:v>2883</c:v>
                </c:pt>
                <c:pt idx="297">
                  <c:v>2797</c:v>
                </c:pt>
                <c:pt idx="298">
                  <c:v>2781</c:v>
                </c:pt>
                <c:pt idx="299">
                  <c:v>2741</c:v>
                </c:pt>
                <c:pt idx="300">
                  <c:v>2723</c:v>
                </c:pt>
                <c:pt idx="301">
                  <c:v>2654</c:v>
                </c:pt>
                <c:pt idx="302">
                  <c:v>2524</c:v>
                </c:pt>
                <c:pt idx="303">
                  <c:v>2485</c:v>
                </c:pt>
                <c:pt idx="304">
                  <c:v>2394</c:v>
                </c:pt>
                <c:pt idx="305">
                  <c:v>2339</c:v>
                </c:pt>
                <c:pt idx="306">
                  <c:v>2377</c:v>
                </c:pt>
                <c:pt idx="307">
                  <c:v>2297</c:v>
                </c:pt>
                <c:pt idx="308">
                  <c:v>2185</c:v>
                </c:pt>
                <c:pt idx="309">
                  <c:v>2151</c:v>
                </c:pt>
                <c:pt idx="310">
                  <c:v>2101</c:v>
                </c:pt>
                <c:pt idx="311">
                  <c:v>1989</c:v>
                </c:pt>
                <c:pt idx="312">
                  <c:v>1941</c:v>
                </c:pt>
                <c:pt idx="313">
                  <c:v>1965</c:v>
                </c:pt>
                <c:pt idx="314">
                  <c:v>1971</c:v>
                </c:pt>
                <c:pt idx="315">
                  <c:v>1890</c:v>
                </c:pt>
                <c:pt idx="316">
                  <c:v>1780</c:v>
                </c:pt>
                <c:pt idx="317">
                  <c:v>1708</c:v>
                </c:pt>
                <c:pt idx="318">
                  <c:v>1647</c:v>
                </c:pt>
                <c:pt idx="319">
                  <c:v>1567</c:v>
                </c:pt>
                <c:pt idx="320">
                  <c:v>1567</c:v>
                </c:pt>
                <c:pt idx="321">
                  <c:v>1530</c:v>
                </c:pt>
                <c:pt idx="322">
                  <c:v>1504</c:v>
                </c:pt>
                <c:pt idx="323">
                  <c:v>1466</c:v>
                </c:pt>
                <c:pt idx="324">
                  <c:v>1414</c:v>
                </c:pt>
                <c:pt idx="325">
                  <c:v>1360</c:v>
                </c:pt>
                <c:pt idx="326">
                  <c:v>1329</c:v>
                </c:pt>
                <c:pt idx="327">
                  <c:v>1353</c:v>
                </c:pt>
                <c:pt idx="328">
                  <c:v>1303</c:v>
                </c:pt>
                <c:pt idx="329">
                  <c:v>1298</c:v>
                </c:pt>
                <c:pt idx="330">
                  <c:v>1229</c:v>
                </c:pt>
                <c:pt idx="331">
                  <c:v>1179</c:v>
                </c:pt>
                <c:pt idx="332">
                  <c:v>1136</c:v>
                </c:pt>
                <c:pt idx="333">
                  <c:v>1126</c:v>
                </c:pt>
                <c:pt idx="334">
                  <c:v>1147</c:v>
                </c:pt>
                <c:pt idx="335">
                  <c:v>1083</c:v>
                </c:pt>
                <c:pt idx="336">
                  <c:v>1039</c:v>
                </c:pt>
                <c:pt idx="337">
                  <c:v>1045</c:v>
                </c:pt>
                <c:pt idx="338">
                  <c:v>1028</c:v>
                </c:pt>
                <c:pt idx="339">
                  <c:v>1020</c:v>
                </c:pt>
                <c:pt idx="340">
                  <c:v>1005</c:v>
                </c:pt>
                <c:pt idx="341">
                  <c:v>1030</c:v>
                </c:pt>
                <c:pt idx="342">
                  <c:v>1010</c:v>
                </c:pt>
                <c:pt idx="343">
                  <c:v>995</c:v>
                </c:pt>
                <c:pt idx="344">
                  <c:v>970</c:v>
                </c:pt>
                <c:pt idx="345">
                  <c:v>964</c:v>
                </c:pt>
                <c:pt idx="346">
                  <c:v>909</c:v>
                </c:pt>
                <c:pt idx="347">
                  <c:v>924</c:v>
                </c:pt>
                <c:pt idx="348">
                  <c:v>956</c:v>
                </c:pt>
                <c:pt idx="349">
                  <c:v>982</c:v>
                </c:pt>
                <c:pt idx="350">
                  <c:v>952</c:v>
                </c:pt>
                <c:pt idx="351">
                  <c:v>935</c:v>
                </c:pt>
                <c:pt idx="352">
                  <c:v>915</c:v>
                </c:pt>
                <c:pt idx="353">
                  <c:v>882</c:v>
                </c:pt>
                <c:pt idx="354">
                  <c:v>898</c:v>
                </c:pt>
                <c:pt idx="355">
                  <c:v>929</c:v>
                </c:pt>
                <c:pt idx="356">
                  <c:v>963</c:v>
                </c:pt>
                <c:pt idx="357">
                  <c:v>990</c:v>
                </c:pt>
                <c:pt idx="358">
                  <c:v>976</c:v>
                </c:pt>
                <c:pt idx="359">
                  <c:v>955</c:v>
                </c:pt>
                <c:pt idx="360">
                  <c:v>942</c:v>
                </c:pt>
                <c:pt idx="361">
                  <c:v>946</c:v>
                </c:pt>
                <c:pt idx="362">
                  <c:v>982</c:v>
                </c:pt>
                <c:pt idx="363">
                  <c:v>1025</c:v>
                </c:pt>
                <c:pt idx="364">
                  <c:v>1010</c:v>
                </c:pt>
                <c:pt idx="365">
                  <c:v>978</c:v>
                </c:pt>
                <c:pt idx="366">
                  <c:v>975</c:v>
                </c:pt>
                <c:pt idx="367">
                  <c:v>945</c:v>
                </c:pt>
                <c:pt idx="368">
                  <c:v>987</c:v>
                </c:pt>
                <c:pt idx="369">
                  <c:v>1034</c:v>
                </c:pt>
                <c:pt idx="370">
                  <c:v>1049</c:v>
                </c:pt>
                <c:pt idx="371">
                  <c:v>1056</c:v>
                </c:pt>
                <c:pt idx="372">
                  <c:v>1064</c:v>
                </c:pt>
                <c:pt idx="373">
                  <c:v>1071</c:v>
                </c:pt>
                <c:pt idx="374">
                  <c:v>1046</c:v>
                </c:pt>
                <c:pt idx="375">
                  <c:v>1096</c:v>
                </c:pt>
                <c:pt idx="376">
                  <c:v>1170</c:v>
                </c:pt>
                <c:pt idx="377">
                  <c:v>1168</c:v>
                </c:pt>
                <c:pt idx="378">
                  <c:v>1165</c:v>
                </c:pt>
                <c:pt idx="379">
                  <c:v>1146</c:v>
                </c:pt>
                <c:pt idx="380">
                  <c:v>1136</c:v>
                </c:pt>
                <c:pt idx="381">
                  <c:v>1114</c:v>
                </c:pt>
                <c:pt idx="382">
                  <c:v>1093</c:v>
                </c:pt>
                <c:pt idx="383">
                  <c:v>1103</c:v>
                </c:pt>
                <c:pt idx="384">
                  <c:v>1115</c:v>
                </c:pt>
                <c:pt idx="385">
                  <c:v>1137</c:v>
                </c:pt>
                <c:pt idx="386">
                  <c:v>1101</c:v>
                </c:pt>
                <c:pt idx="387">
                  <c:v>1066</c:v>
                </c:pt>
                <c:pt idx="388">
                  <c:v>986</c:v>
                </c:pt>
                <c:pt idx="389">
                  <c:v>1007</c:v>
                </c:pt>
                <c:pt idx="390">
                  <c:v>1052</c:v>
                </c:pt>
                <c:pt idx="391">
                  <c:v>1003</c:v>
                </c:pt>
                <c:pt idx="392">
                  <c:v>1034</c:v>
                </c:pt>
                <c:pt idx="393">
                  <c:v>1008</c:v>
                </c:pt>
                <c:pt idx="394">
                  <c:v>1000</c:v>
                </c:pt>
                <c:pt idx="395">
                  <c:v>960</c:v>
                </c:pt>
                <c:pt idx="396">
                  <c:v>958</c:v>
                </c:pt>
                <c:pt idx="397">
                  <c:v>968</c:v>
                </c:pt>
                <c:pt idx="398">
                  <c:v>933</c:v>
                </c:pt>
                <c:pt idx="399">
                  <c:v>925</c:v>
                </c:pt>
                <c:pt idx="400">
                  <c:v>926</c:v>
                </c:pt>
                <c:pt idx="401">
                  <c:v>885</c:v>
                </c:pt>
                <c:pt idx="402">
                  <c:v>816</c:v>
                </c:pt>
                <c:pt idx="403">
                  <c:v>815</c:v>
                </c:pt>
                <c:pt idx="404">
                  <c:v>820</c:v>
                </c:pt>
                <c:pt idx="405">
                  <c:v>820</c:v>
                </c:pt>
                <c:pt idx="406">
                  <c:v>795</c:v>
                </c:pt>
                <c:pt idx="407">
                  <c:v>764</c:v>
                </c:pt>
                <c:pt idx="408">
                  <c:v>724</c:v>
                </c:pt>
                <c:pt idx="409">
                  <c:v>694</c:v>
                </c:pt>
                <c:pt idx="410">
                  <c:v>691</c:v>
                </c:pt>
                <c:pt idx="411">
                  <c:v>701</c:v>
                </c:pt>
                <c:pt idx="412">
                  <c:v>697</c:v>
                </c:pt>
                <c:pt idx="413">
                  <c:v>681</c:v>
                </c:pt>
                <c:pt idx="414">
                  <c:v>694</c:v>
                </c:pt>
                <c:pt idx="415">
                  <c:v>686</c:v>
                </c:pt>
                <c:pt idx="416">
                  <c:v>651</c:v>
                </c:pt>
                <c:pt idx="417">
                  <c:v>654</c:v>
                </c:pt>
                <c:pt idx="418">
                  <c:v>602</c:v>
                </c:pt>
                <c:pt idx="419">
                  <c:v>610</c:v>
                </c:pt>
                <c:pt idx="420">
                  <c:v>613</c:v>
                </c:pt>
                <c:pt idx="421">
                  <c:v>616</c:v>
                </c:pt>
                <c:pt idx="422">
                  <c:v>592</c:v>
                </c:pt>
                <c:pt idx="423">
                  <c:v>561</c:v>
                </c:pt>
                <c:pt idx="424">
                  <c:v>550</c:v>
                </c:pt>
                <c:pt idx="425">
                  <c:v>569</c:v>
                </c:pt>
                <c:pt idx="426">
                  <c:v>555</c:v>
                </c:pt>
                <c:pt idx="427">
                  <c:v>548</c:v>
                </c:pt>
                <c:pt idx="428">
                  <c:v>535</c:v>
                </c:pt>
                <c:pt idx="429">
                  <c:v>528</c:v>
                </c:pt>
                <c:pt idx="430">
                  <c:v>497</c:v>
                </c:pt>
                <c:pt idx="431">
                  <c:v>480</c:v>
                </c:pt>
                <c:pt idx="432">
                  <c:v>510</c:v>
                </c:pt>
                <c:pt idx="433">
                  <c:v>495</c:v>
                </c:pt>
                <c:pt idx="434">
                  <c:v>485</c:v>
                </c:pt>
                <c:pt idx="435">
                  <c:v>476</c:v>
                </c:pt>
                <c:pt idx="436">
                  <c:v>475</c:v>
                </c:pt>
                <c:pt idx="437">
                  <c:v>468</c:v>
                </c:pt>
                <c:pt idx="438">
                  <c:v>465</c:v>
                </c:pt>
                <c:pt idx="439">
                  <c:v>463</c:v>
                </c:pt>
                <c:pt idx="440">
                  <c:v>442</c:v>
                </c:pt>
                <c:pt idx="441">
                  <c:v>429</c:v>
                </c:pt>
                <c:pt idx="442">
                  <c:v>427</c:v>
                </c:pt>
                <c:pt idx="443">
                  <c:v>399</c:v>
                </c:pt>
                <c:pt idx="444">
                  <c:v>365</c:v>
                </c:pt>
                <c:pt idx="445">
                  <c:v>368</c:v>
                </c:pt>
                <c:pt idx="446">
                  <c:v>384</c:v>
                </c:pt>
                <c:pt idx="447">
                  <c:v>393</c:v>
                </c:pt>
                <c:pt idx="448">
                  <c:v>396</c:v>
                </c:pt>
                <c:pt idx="449">
                  <c:v>391</c:v>
                </c:pt>
                <c:pt idx="450">
                  <c:v>381</c:v>
                </c:pt>
                <c:pt idx="451">
                  <c:v>373</c:v>
                </c:pt>
                <c:pt idx="452">
                  <c:v>388</c:v>
                </c:pt>
                <c:pt idx="453">
                  <c:v>391</c:v>
                </c:pt>
                <c:pt idx="454">
                  <c:v>417</c:v>
                </c:pt>
                <c:pt idx="455">
                  <c:v>410</c:v>
                </c:pt>
                <c:pt idx="456">
                  <c:v>418</c:v>
                </c:pt>
                <c:pt idx="457">
                  <c:v>409</c:v>
                </c:pt>
                <c:pt idx="458">
                  <c:v>422</c:v>
                </c:pt>
                <c:pt idx="459">
                  <c:v>448</c:v>
                </c:pt>
                <c:pt idx="460">
                  <c:v>469</c:v>
                </c:pt>
                <c:pt idx="461">
                  <c:v>487</c:v>
                </c:pt>
                <c:pt idx="462">
                  <c:v>494</c:v>
                </c:pt>
                <c:pt idx="463">
                  <c:v>536</c:v>
                </c:pt>
                <c:pt idx="464">
                  <c:v>571</c:v>
                </c:pt>
                <c:pt idx="465">
                  <c:v>587</c:v>
                </c:pt>
                <c:pt idx="466">
                  <c:v>623</c:v>
                </c:pt>
                <c:pt idx="467">
                  <c:v>672</c:v>
                </c:pt>
                <c:pt idx="468">
                  <c:v>698</c:v>
                </c:pt>
                <c:pt idx="469">
                  <c:v>758</c:v>
                </c:pt>
                <c:pt idx="470">
                  <c:v>817</c:v>
                </c:pt>
                <c:pt idx="471">
                  <c:v>868</c:v>
                </c:pt>
                <c:pt idx="472">
                  <c:v>904</c:v>
                </c:pt>
                <c:pt idx="473">
                  <c:v>943</c:v>
                </c:pt>
                <c:pt idx="474">
                  <c:v>1031</c:v>
                </c:pt>
                <c:pt idx="475">
                  <c:v>1091</c:v>
                </c:pt>
                <c:pt idx="476">
                  <c:v>1141</c:v>
                </c:pt>
                <c:pt idx="477">
                  <c:v>1168</c:v>
                </c:pt>
                <c:pt idx="478">
                  <c:v>1238</c:v>
                </c:pt>
                <c:pt idx="479">
                  <c:v>1279</c:v>
                </c:pt>
                <c:pt idx="480">
                  <c:v>1359</c:v>
                </c:pt>
                <c:pt idx="481">
                  <c:v>1468</c:v>
                </c:pt>
                <c:pt idx="482">
                  <c:v>1580</c:v>
                </c:pt>
                <c:pt idx="483">
                  <c:v>1651</c:v>
                </c:pt>
                <c:pt idx="484">
                  <c:v>1715</c:v>
                </c:pt>
                <c:pt idx="485">
                  <c:v>1820</c:v>
                </c:pt>
                <c:pt idx="486">
                  <c:v>1897</c:v>
                </c:pt>
                <c:pt idx="487">
                  <c:v>2008</c:v>
                </c:pt>
                <c:pt idx="488">
                  <c:v>2179</c:v>
                </c:pt>
                <c:pt idx="489">
                  <c:v>2304</c:v>
                </c:pt>
                <c:pt idx="490">
                  <c:v>2430</c:v>
                </c:pt>
                <c:pt idx="491">
                  <c:v>2515</c:v>
                </c:pt>
                <c:pt idx="492">
                  <c:v>2615</c:v>
                </c:pt>
                <c:pt idx="493">
                  <c:v>2567</c:v>
                </c:pt>
                <c:pt idx="494">
                  <c:v>2651</c:v>
                </c:pt>
                <c:pt idx="495">
                  <c:v>2828</c:v>
                </c:pt>
                <c:pt idx="496">
                  <c:v>2932</c:v>
                </c:pt>
                <c:pt idx="497">
                  <c:v>3095</c:v>
                </c:pt>
                <c:pt idx="498">
                  <c:v>3159</c:v>
                </c:pt>
                <c:pt idx="499">
                  <c:v>3151</c:v>
                </c:pt>
                <c:pt idx="500">
                  <c:v>3145</c:v>
                </c:pt>
                <c:pt idx="501">
                  <c:v>3241</c:v>
                </c:pt>
                <c:pt idx="502">
                  <c:v>3357</c:v>
                </c:pt>
                <c:pt idx="503">
                  <c:v>3518</c:v>
                </c:pt>
                <c:pt idx="504">
                  <c:v>3552</c:v>
                </c:pt>
                <c:pt idx="505">
                  <c:v>3666</c:v>
                </c:pt>
                <c:pt idx="506">
                  <c:v>3632</c:v>
                </c:pt>
                <c:pt idx="507">
                  <c:v>3607</c:v>
                </c:pt>
                <c:pt idx="508">
                  <c:v>3550</c:v>
                </c:pt>
                <c:pt idx="509">
                  <c:v>3612</c:v>
                </c:pt>
                <c:pt idx="510">
                  <c:v>3790</c:v>
                </c:pt>
                <c:pt idx="511">
                  <c:v>3799</c:v>
                </c:pt>
                <c:pt idx="512">
                  <c:v>3800</c:v>
                </c:pt>
                <c:pt idx="513">
                  <c:v>3814</c:v>
                </c:pt>
                <c:pt idx="514">
                  <c:v>3735</c:v>
                </c:pt>
                <c:pt idx="515">
                  <c:v>3715</c:v>
                </c:pt>
                <c:pt idx="516">
                  <c:v>3779</c:v>
                </c:pt>
                <c:pt idx="517">
                  <c:v>3808</c:v>
                </c:pt>
                <c:pt idx="518">
                  <c:v>3815</c:v>
                </c:pt>
                <c:pt idx="519">
                  <c:v>3786</c:v>
                </c:pt>
                <c:pt idx="520">
                  <c:v>3760</c:v>
                </c:pt>
                <c:pt idx="521">
                  <c:v>3751</c:v>
                </c:pt>
                <c:pt idx="522">
                  <c:v>3677</c:v>
                </c:pt>
                <c:pt idx="523">
                  <c:v>3690</c:v>
                </c:pt>
                <c:pt idx="524">
                  <c:v>3626</c:v>
                </c:pt>
                <c:pt idx="525">
                  <c:v>3617</c:v>
                </c:pt>
                <c:pt idx="526">
                  <c:v>3573</c:v>
                </c:pt>
                <c:pt idx="527">
                  <c:v>3517</c:v>
                </c:pt>
                <c:pt idx="528">
                  <c:v>3422</c:v>
                </c:pt>
                <c:pt idx="529">
                  <c:v>3323</c:v>
                </c:pt>
                <c:pt idx="530">
                  <c:v>3464</c:v>
                </c:pt>
                <c:pt idx="531">
                  <c:v>3400</c:v>
                </c:pt>
                <c:pt idx="532">
                  <c:v>3338</c:v>
                </c:pt>
                <c:pt idx="533">
                  <c:v>3359</c:v>
                </c:pt>
                <c:pt idx="534">
                  <c:v>3283</c:v>
                </c:pt>
                <c:pt idx="535">
                  <c:v>3045</c:v>
                </c:pt>
                <c:pt idx="536">
                  <c:v>3118</c:v>
                </c:pt>
                <c:pt idx="537">
                  <c:v>3073</c:v>
                </c:pt>
                <c:pt idx="538">
                  <c:v>3013</c:v>
                </c:pt>
                <c:pt idx="539">
                  <c:v>2953</c:v>
                </c:pt>
                <c:pt idx="540">
                  <c:v>2882</c:v>
                </c:pt>
                <c:pt idx="541">
                  <c:v>2815</c:v>
                </c:pt>
                <c:pt idx="542">
                  <c:v>2677</c:v>
                </c:pt>
                <c:pt idx="543">
                  <c:v>2690</c:v>
                </c:pt>
                <c:pt idx="544">
                  <c:v>2705</c:v>
                </c:pt>
                <c:pt idx="545">
                  <c:v>2590</c:v>
                </c:pt>
                <c:pt idx="546">
                  <c:v>2547</c:v>
                </c:pt>
                <c:pt idx="547">
                  <c:v>2449</c:v>
                </c:pt>
                <c:pt idx="548">
                  <c:v>2413</c:v>
                </c:pt>
                <c:pt idx="549">
                  <c:v>2258</c:v>
                </c:pt>
                <c:pt idx="550">
                  <c:v>2152</c:v>
                </c:pt>
              </c:numCache>
            </c:numRef>
          </c:val>
          <c:smooth val="0"/>
          <c:extLst>
            <c:ext xmlns:c16="http://schemas.microsoft.com/office/drawing/2014/chart" uri="{C3380CC4-5D6E-409C-BE32-E72D297353CC}">
              <c16:uniqueId val="{00000001-D763-B247-B313-28231883E609}"/>
            </c:ext>
          </c:extLst>
        </c:ser>
        <c:ser>
          <c:idx val="1"/>
          <c:order val="1"/>
          <c:tx>
            <c:strRef>
              <c:f>chart!$C$3</c:f>
              <c:strCache>
                <c:ptCount val="1"/>
                <c:pt idx="0">
                  <c:v>Sum of Field1</c:v>
                </c:pt>
              </c:strCache>
            </c:strRef>
          </c:tx>
          <c:spPr>
            <a:ln w="28575" cap="rnd">
              <a:solidFill>
                <a:schemeClr val="bg1">
                  <a:lumMod val="75000"/>
                </a:schemeClr>
              </a:solidFill>
              <a:round/>
            </a:ln>
            <a:effectLst/>
          </c:spPr>
          <c:marker>
            <c:symbol val="none"/>
          </c:marker>
          <c:cat>
            <c:strRef>
              <c:f>chart!$A$4:$A$555</c:f>
              <c:strCache>
                <c:ptCount val="551"/>
                <c:pt idx="0">
                  <c:v>4/8/20</c:v>
                </c:pt>
                <c:pt idx="1">
                  <c:v>4/9/20</c:v>
                </c:pt>
                <c:pt idx="2">
                  <c:v>4/10/20</c:v>
                </c:pt>
                <c:pt idx="3">
                  <c:v>4/11/20</c:v>
                </c:pt>
                <c:pt idx="4">
                  <c:v>4/12/20</c:v>
                </c:pt>
                <c:pt idx="5">
                  <c:v>4/13/20</c:v>
                </c:pt>
                <c:pt idx="6">
                  <c:v>4/14/20</c:v>
                </c:pt>
                <c:pt idx="7">
                  <c:v>4/15/20</c:v>
                </c:pt>
                <c:pt idx="8">
                  <c:v>4/16/20</c:v>
                </c:pt>
                <c:pt idx="9">
                  <c:v>4/17/20</c:v>
                </c:pt>
                <c:pt idx="10">
                  <c:v>4/18/20</c:v>
                </c:pt>
                <c:pt idx="11">
                  <c:v>4/19/20</c:v>
                </c:pt>
                <c:pt idx="12">
                  <c:v>4/20/20</c:v>
                </c:pt>
                <c:pt idx="13">
                  <c:v>4/21/20</c:v>
                </c:pt>
                <c:pt idx="14">
                  <c:v>4/22/20</c:v>
                </c:pt>
                <c:pt idx="15">
                  <c:v>4/23/20</c:v>
                </c:pt>
                <c:pt idx="16">
                  <c:v>4/24/20</c:v>
                </c:pt>
                <c:pt idx="17">
                  <c:v>4/25/20</c:v>
                </c:pt>
                <c:pt idx="18">
                  <c:v>4/26/20</c:v>
                </c:pt>
                <c:pt idx="19">
                  <c:v>4/27/20</c:v>
                </c:pt>
                <c:pt idx="20">
                  <c:v>4/28/20</c:v>
                </c:pt>
                <c:pt idx="21">
                  <c:v>4/29/20</c:v>
                </c:pt>
                <c:pt idx="22">
                  <c:v>4/30/20</c:v>
                </c:pt>
                <c:pt idx="23">
                  <c:v>5/1/20</c:v>
                </c:pt>
                <c:pt idx="24">
                  <c:v>5/2/20</c:v>
                </c:pt>
                <c:pt idx="25">
                  <c:v>5/3/20</c:v>
                </c:pt>
                <c:pt idx="26">
                  <c:v>5/4/20</c:v>
                </c:pt>
                <c:pt idx="27">
                  <c:v>5/5/20</c:v>
                </c:pt>
                <c:pt idx="28">
                  <c:v>5/6/20</c:v>
                </c:pt>
                <c:pt idx="29">
                  <c:v>5/7/20</c:v>
                </c:pt>
                <c:pt idx="30">
                  <c:v>5/8/20</c:v>
                </c:pt>
                <c:pt idx="31">
                  <c:v>5/9/20</c:v>
                </c:pt>
                <c:pt idx="32">
                  <c:v>5/10/20</c:v>
                </c:pt>
                <c:pt idx="33">
                  <c:v>5/11/20</c:v>
                </c:pt>
                <c:pt idx="34">
                  <c:v>5/12/20</c:v>
                </c:pt>
                <c:pt idx="35">
                  <c:v>5/13/20</c:v>
                </c:pt>
                <c:pt idx="36">
                  <c:v>5/14/20</c:v>
                </c:pt>
                <c:pt idx="37">
                  <c:v>5/15/20</c:v>
                </c:pt>
                <c:pt idx="38">
                  <c:v>5/16/20</c:v>
                </c:pt>
                <c:pt idx="39">
                  <c:v>5/17/20</c:v>
                </c:pt>
                <c:pt idx="40">
                  <c:v>5/18/20</c:v>
                </c:pt>
                <c:pt idx="41">
                  <c:v>5/19/20</c:v>
                </c:pt>
                <c:pt idx="42">
                  <c:v>5/20/20</c:v>
                </c:pt>
                <c:pt idx="43">
                  <c:v>5/21/20</c:v>
                </c:pt>
                <c:pt idx="44">
                  <c:v>5/22/20</c:v>
                </c:pt>
                <c:pt idx="45">
                  <c:v>5/23/20</c:v>
                </c:pt>
                <c:pt idx="46">
                  <c:v>5/24/20</c:v>
                </c:pt>
                <c:pt idx="47">
                  <c:v>5/25/20</c:v>
                </c:pt>
                <c:pt idx="48">
                  <c:v>5/26/20</c:v>
                </c:pt>
                <c:pt idx="49">
                  <c:v>5/27/20</c:v>
                </c:pt>
                <c:pt idx="50">
                  <c:v>5/28/20</c:v>
                </c:pt>
                <c:pt idx="51">
                  <c:v>5/29/20</c:v>
                </c:pt>
                <c:pt idx="52">
                  <c:v>5/30/20</c:v>
                </c:pt>
                <c:pt idx="53">
                  <c:v>5/31/20</c:v>
                </c:pt>
                <c:pt idx="54">
                  <c:v>6/1/20</c:v>
                </c:pt>
                <c:pt idx="55">
                  <c:v>6/2/20</c:v>
                </c:pt>
                <c:pt idx="56">
                  <c:v>6/3/20</c:v>
                </c:pt>
                <c:pt idx="57">
                  <c:v>6/4/20</c:v>
                </c:pt>
                <c:pt idx="58">
                  <c:v>6/5/20</c:v>
                </c:pt>
                <c:pt idx="59">
                  <c:v>6/6/20</c:v>
                </c:pt>
                <c:pt idx="60">
                  <c:v>6/7/20</c:v>
                </c:pt>
                <c:pt idx="61">
                  <c:v>6/8/20</c:v>
                </c:pt>
                <c:pt idx="62">
                  <c:v>6/9/20</c:v>
                </c:pt>
                <c:pt idx="63">
                  <c:v>6/10/20</c:v>
                </c:pt>
                <c:pt idx="64">
                  <c:v>6/11/20</c:v>
                </c:pt>
                <c:pt idx="65">
                  <c:v>6/12/20</c:v>
                </c:pt>
                <c:pt idx="66">
                  <c:v>6/13/20</c:v>
                </c:pt>
                <c:pt idx="67">
                  <c:v>6/14/20</c:v>
                </c:pt>
                <c:pt idx="68">
                  <c:v>6/15/20</c:v>
                </c:pt>
                <c:pt idx="69">
                  <c:v>6/16/20</c:v>
                </c:pt>
                <c:pt idx="70">
                  <c:v>6/17/20</c:v>
                </c:pt>
                <c:pt idx="71">
                  <c:v>6/18/20</c:v>
                </c:pt>
                <c:pt idx="72">
                  <c:v>6/19/20</c:v>
                </c:pt>
                <c:pt idx="73">
                  <c:v>6/20/20</c:v>
                </c:pt>
                <c:pt idx="74">
                  <c:v>6/21/20</c:v>
                </c:pt>
                <c:pt idx="75">
                  <c:v>6/22/20</c:v>
                </c:pt>
                <c:pt idx="76">
                  <c:v>6/23/20</c:v>
                </c:pt>
                <c:pt idx="77">
                  <c:v>6/24/20</c:v>
                </c:pt>
                <c:pt idx="78">
                  <c:v>6/25/20</c:v>
                </c:pt>
                <c:pt idx="79">
                  <c:v>6/26/20</c:v>
                </c:pt>
                <c:pt idx="80">
                  <c:v>6/27/20</c:v>
                </c:pt>
                <c:pt idx="81">
                  <c:v>6/28/20</c:v>
                </c:pt>
                <c:pt idx="82">
                  <c:v>6/29/20</c:v>
                </c:pt>
                <c:pt idx="83">
                  <c:v>6/30/20</c:v>
                </c:pt>
                <c:pt idx="84">
                  <c:v>7/1/20</c:v>
                </c:pt>
                <c:pt idx="85">
                  <c:v>7/2/20</c:v>
                </c:pt>
                <c:pt idx="86">
                  <c:v>7/3/20</c:v>
                </c:pt>
                <c:pt idx="87">
                  <c:v>7/4/20</c:v>
                </c:pt>
                <c:pt idx="88">
                  <c:v>7/5/20</c:v>
                </c:pt>
                <c:pt idx="89">
                  <c:v>7/6/20</c:v>
                </c:pt>
                <c:pt idx="90">
                  <c:v>7/7/20</c:v>
                </c:pt>
                <c:pt idx="91">
                  <c:v>7/8/20</c:v>
                </c:pt>
                <c:pt idx="92">
                  <c:v>7/9/20</c:v>
                </c:pt>
                <c:pt idx="93">
                  <c:v>7/10/20</c:v>
                </c:pt>
                <c:pt idx="94">
                  <c:v>7/11/20</c:v>
                </c:pt>
                <c:pt idx="95">
                  <c:v>7/12/20</c:v>
                </c:pt>
                <c:pt idx="96">
                  <c:v>7/13/20</c:v>
                </c:pt>
                <c:pt idx="97">
                  <c:v>7/14/20</c:v>
                </c:pt>
                <c:pt idx="98">
                  <c:v>7/15/20</c:v>
                </c:pt>
                <c:pt idx="99">
                  <c:v>7/16/20</c:v>
                </c:pt>
                <c:pt idx="100">
                  <c:v>7/17/20</c:v>
                </c:pt>
                <c:pt idx="101">
                  <c:v>7/18/20</c:v>
                </c:pt>
                <c:pt idx="102">
                  <c:v>7/19/20</c:v>
                </c:pt>
                <c:pt idx="103">
                  <c:v>7/20/20</c:v>
                </c:pt>
                <c:pt idx="104">
                  <c:v>7/21/20</c:v>
                </c:pt>
                <c:pt idx="105">
                  <c:v>7/22/20</c:v>
                </c:pt>
                <c:pt idx="106">
                  <c:v>7/23/20</c:v>
                </c:pt>
                <c:pt idx="107">
                  <c:v>7/24/20</c:v>
                </c:pt>
                <c:pt idx="108">
                  <c:v>7/25/20</c:v>
                </c:pt>
                <c:pt idx="109">
                  <c:v>7/26/20</c:v>
                </c:pt>
                <c:pt idx="110">
                  <c:v>7/27/20</c:v>
                </c:pt>
                <c:pt idx="111">
                  <c:v>7/28/20</c:v>
                </c:pt>
                <c:pt idx="112">
                  <c:v>7/29/20</c:v>
                </c:pt>
                <c:pt idx="113">
                  <c:v>7/30/20</c:v>
                </c:pt>
                <c:pt idx="114">
                  <c:v>7/31/20</c:v>
                </c:pt>
                <c:pt idx="115">
                  <c:v>8/1/20</c:v>
                </c:pt>
                <c:pt idx="116">
                  <c:v>8/2/20</c:v>
                </c:pt>
                <c:pt idx="117">
                  <c:v>8/3/20</c:v>
                </c:pt>
                <c:pt idx="118">
                  <c:v>8/4/20</c:v>
                </c:pt>
                <c:pt idx="119">
                  <c:v>8/5/20</c:v>
                </c:pt>
                <c:pt idx="120">
                  <c:v>8/6/20</c:v>
                </c:pt>
                <c:pt idx="121">
                  <c:v>8/7/20</c:v>
                </c:pt>
                <c:pt idx="122">
                  <c:v>8/8/20</c:v>
                </c:pt>
                <c:pt idx="123">
                  <c:v>8/9/20</c:v>
                </c:pt>
                <c:pt idx="124">
                  <c:v>8/10/20</c:v>
                </c:pt>
                <c:pt idx="125">
                  <c:v>8/11/20</c:v>
                </c:pt>
                <c:pt idx="126">
                  <c:v>8/12/20</c:v>
                </c:pt>
                <c:pt idx="127">
                  <c:v>8/13/20</c:v>
                </c:pt>
                <c:pt idx="128">
                  <c:v>8/14/20</c:v>
                </c:pt>
                <c:pt idx="129">
                  <c:v>8/15/20</c:v>
                </c:pt>
                <c:pt idx="130">
                  <c:v>8/16/20</c:v>
                </c:pt>
                <c:pt idx="131">
                  <c:v>8/17/20</c:v>
                </c:pt>
                <c:pt idx="132">
                  <c:v>8/18/20</c:v>
                </c:pt>
                <c:pt idx="133">
                  <c:v>8/19/20</c:v>
                </c:pt>
                <c:pt idx="134">
                  <c:v>8/20/20</c:v>
                </c:pt>
                <c:pt idx="135">
                  <c:v>8/21/20</c:v>
                </c:pt>
                <c:pt idx="136">
                  <c:v>8/22/20</c:v>
                </c:pt>
                <c:pt idx="137">
                  <c:v>8/23/20</c:v>
                </c:pt>
                <c:pt idx="138">
                  <c:v>8/24/20</c:v>
                </c:pt>
                <c:pt idx="139">
                  <c:v>8/25/20</c:v>
                </c:pt>
                <c:pt idx="140">
                  <c:v>8/26/20</c:v>
                </c:pt>
                <c:pt idx="141">
                  <c:v>8/27/20</c:v>
                </c:pt>
                <c:pt idx="142">
                  <c:v>8/28/20</c:v>
                </c:pt>
                <c:pt idx="143">
                  <c:v>8/29/20</c:v>
                </c:pt>
                <c:pt idx="144">
                  <c:v>8/30/20</c:v>
                </c:pt>
                <c:pt idx="145">
                  <c:v>8/31/20</c:v>
                </c:pt>
                <c:pt idx="146">
                  <c:v>9/1/20</c:v>
                </c:pt>
                <c:pt idx="147">
                  <c:v>9/2/20</c:v>
                </c:pt>
                <c:pt idx="148">
                  <c:v>9/3/20</c:v>
                </c:pt>
                <c:pt idx="149">
                  <c:v>9/4/20</c:v>
                </c:pt>
                <c:pt idx="150">
                  <c:v>9/5/20</c:v>
                </c:pt>
                <c:pt idx="151">
                  <c:v>9/6/20</c:v>
                </c:pt>
                <c:pt idx="152">
                  <c:v>9/7/20</c:v>
                </c:pt>
                <c:pt idx="153">
                  <c:v>9/8/20</c:v>
                </c:pt>
                <c:pt idx="154">
                  <c:v>9/9/20</c:v>
                </c:pt>
                <c:pt idx="155">
                  <c:v>9/10/20</c:v>
                </c:pt>
                <c:pt idx="156">
                  <c:v>9/11/20</c:v>
                </c:pt>
                <c:pt idx="157">
                  <c:v>9/12/20</c:v>
                </c:pt>
                <c:pt idx="158">
                  <c:v>9/13/20</c:v>
                </c:pt>
                <c:pt idx="159">
                  <c:v>9/14/20</c:v>
                </c:pt>
                <c:pt idx="160">
                  <c:v>9/15/20</c:v>
                </c:pt>
                <c:pt idx="161">
                  <c:v>9/16/20</c:v>
                </c:pt>
                <c:pt idx="162">
                  <c:v>9/17/20</c:v>
                </c:pt>
                <c:pt idx="163">
                  <c:v>9/18/20</c:v>
                </c:pt>
                <c:pt idx="164">
                  <c:v>9/19/20</c:v>
                </c:pt>
                <c:pt idx="165">
                  <c:v>9/20/20</c:v>
                </c:pt>
                <c:pt idx="166">
                  <c:v>9/21/20</c:v>
                </c:pt>
                <c:pt idx="167">
                  <c:v>9/22/20</c:v>
                </c:pt>
                <c:pt idx="168">
                  <c:v>9/23/20</c:v>
                </c:pt>
                <c:pt idx="169">
                  <c:v>9/24/20</c:v>
                </c:pt>
                <c:pt idx="170">
                  <c:v>9/25/20</c:v>
                </c:pt>
                <c:pt idx="171">
                  <c:v>9/26/20</c:v>
                </c:pt>
                <c:pt idx="172">
                  <c:v>9/27/20</c:v>
                </c:pt>
                <c:pt idx="173">
                  <c:v>9/28/20</c:v>
                </c:pt>
                <c:pt idx="174">
                  <c:v>9/29/20</c:v>
                </c:pt>
                <c:pt idx="175">
                  <c:v>9/30/20</c:v>
                </c:pt>
                <c:pt idx="176">
                  <c:v>10/1/20</c:v>
                </c:pt>
                <c:pt idx="177">
                  <c:v>10/2/20</c:v>
                </c:pt>
                <c:pt idx="178">
                  <c:v>10/3/20</c:v>
                </c:pt>
                <c:pt idx="179">
                  <c:v>10/4/20</c:v>
                </c:pt>
                <c:pt idx="180">
                  <c:v>10/5/20</c:v>
                </c:pt>
                <c:pt idx="181">
                  <c:v>10/6/20</c:v>
                </c:pt>
                <c:pt idx="182">
                  <c:v>10/7/20</c:v>
                </c:pt>
                <c:pt idx="183">
                  <c:v>10/8/20</c:v>
                </c:pt>
                <c:pt idx="184">
                  <c:v>10/9/20</c:v>
                </c:pt>
                <c:pt idx="185">
                  <c:v>10/10/20</c:v>
                </c:pt>
                <c:pt idx="186">
                  <c:v>10/11/20</c:v>
                </c:pt>
                <c:pt idx="187">
                  <c:v>10/12/20</c:v>
                </c:pt>
                <c:pt idx="188">
                  <c:v>10/13/20</c:v>
                </c:pt>
                <c:pt idx="189">
                  <c:v>10/14/20</c:v>
                </c:pt>
                <c:pt idx="190">
                  <c:v>10/15/20</c:v>
                </c:pt>
                <c:pt idx="191">
                  <c:v>10/16/20</c:v>
                </c:pt>
                <c:pt idx="192">
                  <c:v>10/17/20</c:v>
                </c:pt>
                <c:pt idx="193">
                  <c:v>10/18/20</c:v>
                </c:pt>
                <c:pt idx="194">
                  <c:v>10/19/20</c:v>
                </c:pt>
                <c:pt idx="195">
                  <c:v>10/20/20</c:v>
                </c:pt>
                <c:pt idx="196">
                  <c:v>10/21/20</c:v>
                </c:pt>
                <c:pt idx="197">
                  <c:v>10/22/20</c:v>
                </c:pt>
                <c:pt idx="198">
                  <c:v>10/23/20</c:v>
                </c:pt>
                <c:pt idx="199">
                  <c:v>10/24/20</c:v>
                </c:pt>
                <c:pt idx="200">
                  <c:v>10/25/20</c:v>
                </c:pt>
                <c:pt idx="201">
                  <c:v>10/26/20</c:v>
                </c:pt>
                <c:pt idx="202">
                  <c:v>10/27/20</c:v>
                </c:pt>
                <c:pt idx="203">
                  <c:v>10/28/20</c:v>
                </c:pt>
                <c:pt idx="204">
                  <c:v>10/29/20</c:v>
                </c:pt>
                <c:pt idx="205">
                  <c:v>10/30/20</c:v>
                </c:pt>
                <c:pt idx="206">
                  <c:v>10/31/20</c:v>
                </c:pt>
                <c:pt idx="207">
                  <c:v>11/1/20</c:v>
                </c:pt>
                <c:pt idx="208">
                  <c:v>11/2/20</c:v>
                </c:pt>
                <c:pt idx="209">
                  <c:v>11/3/20</c:v>
                </c:pt>
                <c:pt idx="210">
                  <c:v>11/4/20</c:v>
                </c:pt>
                <c:pt idx="211">
                  <c:v>11/5/20</c:v>
                </c:pt>
                <c:pt idx="212">
                  <c:v>11/6/20</c:v>
                </c:pt>
                <c:pt idx="213">
                  <c:v>11/7/20</c:v>
                </c:pt>
                <c:pt idx="214">
                  <c:v>11/8/20</c:v>
                </c:pt>
                <c:pt idx="215">
                  <c:v>11/9/20</c:v>
                </c:pt>
                <c:pt idx="216">
                  <c:v>11/10/20</c:v>
                </c:pt>
                <c:pt idx="217">
                  <c:v>11/11/20</c:v>
                </c:pt>
                <c:pt idx="218">
                  <c:v>11/12/20</c:v>
                </c:pt>
                <c:pt idx="219">
                  <c:v>11/13/20</c:v>
                </c:pt>
                <c:pt idx="220">
                  <c:v>11/14/20</c:v>
                </c:pt>
                <c:pt idx="221">
                  <c:v>11/15/20</c:v>
                </c:pt>
                <c:pt idx="222">
                  <c:v>11/16/20</c:v>
                </c:pt>
                <c:pt idx="223">
                  <c:v>11/17/20</c:v>
                </c:pt>
                <c:pt idx="224">
                  <c:v>11/18/20</c:v>
                </c:pt>
                <c:pt idx="225">
                  <c:v>11/19/20</c:v>
                </c:pt>
                <c:pt idx="226">
                  <c:v>11/20/20</c:v>
                </c:pt>
                <c:pt idx="227">
                  <c:v>11/21/20</c:v>
                </c:pt>
                <c:pt idx="228">
                  <c:v>11/22/20</c:v>
                </c:pt>
                <c:pt idx="229">
                  <c:v>11/23/20</c:v>
                </c:pt>
                <c:pt idx="230">
                  <c:v>11/24/20</c:v>
                </c:pt>
                <c:pt idx="231">
                  <c:v>11/25/20</c:v>
                </c:pt>
                <c:pt idx="232">
                  <c:v>11/26/20</c:v>
                </c:pt>
                <c:pt idx="233">
                  <c:v>11/27/20</c:v>
                </c:pt>
                <c:pt idx="234">
                  <c:v>11/28/20</c:v>
                </c:pt>
                <c:pt idx="235">
                  <c:v>11/29/20</c:v>
                </c:pt>
                <c:pt idx="236">
                  <c:v>11/30/20</c:v>
                </c:pt>
                <c:pt idx="237">
                  <c:v>12/1/20</c:v>
                </c:pt>
                <c:pt idx="238">
                  <c:v>12/2/20</c:v>
                </c:pt>
                <c:pt idx="239">
                  <c:v>12/3/20</c:v>
                </c:pt>
                <c:pt idx="240">
                  <c:v>12/4/20</c:v>
                </c:pt>
                <c:pt idx="241">
                  <c:v>12/5/20</c:v>
                </c:pt>
                <c:pt idx="242">
                  <c:v>12/6/20</c:v>
                </c:pt>
                <c:pt idx="243">
                  <c:v>12/7/20</c:v>
                </c:pt>
                <c:pt idx="244">
                  <c:v>12/8/20</c:v>
                </c:pt>
                <c:pt idx="245">
                  <c:v>12/9/20</c:v>
                </c:pt>
                <c:pt idx="246">
                  <c:v>12/10/20</c:v>
                </c:pt>
                <c:pt idx="247">
                  <c:v>12/11/20</c:v>
                </c:pt>
                <c:pt idx="248">
                  <c:v>12/12/20</c:v>
                </c:pt>
                <c:pt idx="249">
                  <c:v>12/13/20</c:v>
                </c:pt>
                <c:pt idx="250">
                  <c:v>12/14/20</c:v>
                </c:pt>
                <c:pt idx="251">
                  <c:v>12/15/20</c:v>
                </c:pt>
                <c:pt idx="252">
                  <c:v>12/16/20</c:v>
                </c:pt>
                <c:pt idx="253">
                  <c:v>12/17/20</c:v>
                </c:pt>
                <c:pt idx="254">
                  <c:v>12/18/20</c:v>
                </c:pt>
                <c:pt idx="255">
                  <c:v>12/19/20</c:v>
                </c:pt>
                <c:pt idx="256">
                  <c:v>12/20/20</c:v>
                </c:pt>
                <c:pt idx="257">
                  <c:v>12/21/20</c:v>
                </c:pt>
                <c:pt idx="258">
                  <c:v>12/22/20</c:v>
                </c:pt>
                <c:pt idx="259">
                  <c:v>12/23/20</c:v>
                </c:pt>
                <c:pt idx="260">
                  <c:v>12/24/20</c:v>
                </c:pt>
                <c:pt idx="261">
                  <c:v>12/25/20</c:v>
                </c:pt>
                <c:pt idx="262">
                  <c:v>12/26/20</c:v>
                </c:pt>
                <c:pt idx="263">
                  <c:v>12/27/20</c:v>
                </c:pt>
                <c:pt idx="264">
                  <c:v>12/28/20</c:v>
                </c:pt>
                <c:pt idx="265">
                  <c:v>12/29/20</c:v>
                </c:pt>
                <c:pt idx="266">
                  <c:v>12/30/20</c:v>
                </c:pt>
                <c:pt idx="267">
                  <c:v>12/31/20</c:v>
                </c:pt>
                <c:pt idx="268">
                  <c:v>1/1/21</c:v>
                </c:pt>
                <c:pt idx="269">
                  <c:v>1/2/21</c:v>
                </c:pt>
                <c:pt idx="270">
                  <c:v>1/3/21</c:v>
                </c:pt>
                <c:pt idx="271">
                  <c:v>1/4/21</c:v>
                </c:pt>
                <c:pt idx="272">
                  <c:v>1/5/21</c:v>
                </c:pt>
                <c:pt idx="273">
                  <c:v>1/6/21</c:v>
                </c:pt>
                <c:pt idx="274">
                  <c:v>1/7/21</c:v>
                </c:pt>
                <c:pt idx="275">
                  <c:v>1/8/21</c:v>
                </c:pt>
                <c:pt idx="276">
                  <c:v>1/9/21</c:v>
                </c:pt>
                <c:pt idx="277">
                  <c:v>1/10/21</c:v>
                </c:pt>
                <c:pt idx="278">
                  <c:v>1/11/21</c:v>
                </c:pt>
                <c:pt idx="279">
                  <c:v>1/12/21</c:v>
                </c:pt>
                <c:pt idx="280">
                  <c:v>1/13/21</c:v>
                </c:pt>
                <c:pt idx="281">
                  <c:v>1/14/21</c:v>
                </c:pt>
                <c:pt idx="282">
                  <c:v>1/15/21</c:v>
                </c:pt>
                <c:pt idx="283">
                  <c:v>1/16/21</c:v>
                </c:pt>
                <c:pt idx="284">
                  <c:v>1/17/21</c:v>
                </c:pt>
                <c:pt idx="285">
                  <c:v>1/18/21</c:v>
                </c:pt>
                <c:pt idx="286">
                  <c:v>1/19/21</c:v>
                </c:pt>
                <c:pt idx="287">
                  <c:v>1/20/21</c:v>
                </c:pt>
                <c:pt idx="288">
                  <c:v>1/21/21</c:v>
                </c:pt>
                <c:pt idx="289">
                  <c:v>1/22/21</c:v>
                </c:pt>
                <c:pt idx="290">
                  <c:v>1/23/21</c:v>
                </c:pt>
                <c:pt idx="291">
                  <c:v>1/24/21</c:v>
                </c:pt>
                <c:pt idx="292">
                  <c:v>1/25/21</c:v>
                </c:pt>
                <c:pt idx="293">
                  <c:v>1/26/21</c:v>
                </c:pt>
                <c:pt idx="294">
                  <c:v>1/27/21</c:v>
                </c:pt>
                <c:pt idx="295">
                  <c:v>1/28/21</c:v>
                </c:pt>
                <c:pt idx="296">
                  <c:v>1/29/21</c:v>
                </c:pt>
                <c:pt idx="297">
                  <c:v>1/30/21</c:v>
                </c:pt>
                <c:pt idx="298">
                  <c:v>1/31/21</c:v>
                </c:pt>
                <c:pt idx="299">
                  <c:v>2/1/21</c:v>
                </c:pt>
                <c:pt idx="300">
                  <c:v>2/2/21</c:v>
                </c:pt>
                <c:pt idx="301">
                  <c:v>2/3/21</c:v>
                </c:pt>
                <c:pt idx="302">
                  <c:v>2/4/21</c:v>
                </c:pt>
                <c:pt idx="303">
                  <c:v>2/5/21</c:v>
                </c:pt>
                <c:pt idx="304">
                  <c:v>2/6/21</c:v>
                </c:pt>
                <c:pt idx="305">
                  <c:v>2/7/21</c:v>
                </c:pt>
                <c:pt idx="306">
                  <c:v>2/8/21</c:v>
                </c:pt>
                <c:pt idx="307">
                  <c:v>2/9/21</c:v>
                </c:pt>
                <c:pt idx="308">
                  <c:v>2/10/21</c:v>
                </c:pt>
                <c:pt idx="309">
                  <c:v>2/11/21</c:v>
                </c:pt>
                <c:pt idx="310">
                  <c:v>2/12/21</c:v>
                </c:pt>
                <c:pt idx="311">
                  <c:v>2/13/21</c:v>
                </c:pt>
                <c:pt idx="312">
                  <c:v>2/14/21</c:v>
                </c:pt>
                <c:pt idx="313">
                  <c:v>2/15/21</c:v>
                </c:pt>
                <c:pt idx="314">
                  <c:v>2/16/21</c:v>
                </c:pt>
                <c:pt idx="315">
                  <c:v>2/17/21</c:v>
                </c:pt>
                <c:pt idx="316">
                  <c:v>2/18/21</c:v>
                </c:pt>
                <c:pt idx="317">
                  <c:v>2/19/21</c:v>
                </c:pt>
                <c:pt idx="318">
                  <c:v>2/20/21</c:v>
                </c:pt>
                <c:pt idx="319">
                  <c:v>2/21/21</c:v>
                </c:pt>
                <c:pt idx="320">
                  <c:v>2/22/21</c:v>
                </c:pt>
                <c:pt idx="321">
                  <c:v>2/23/21</c:v>
                </c:pt>
                <c:pt idx="322">
                  <c:v>2/24/21</c:v>
                </c:pt>
                <c:pt idx="323">
                  <c:v>2/25/21</c:v>
                </c:pt>
                <c:pt idx="324">
                  <c:v>2/26/21</c:v>
                </c:pt>
                <c:pt idx="325">
                  <c:v>2/27/21</c:v>
                </c:pt>
                <c:pt idx="326">
                  <c:v>2/28/21</c:v>
                </c:pt>
                <c:pt idx="327">
                  <c:v>3/1/21</c:v>
                </c:pt>
                <c:pt idx="328">
                  <c:v>3/2/21</c:v>
                </c:pt>
                <c:pt idx="329">
                  <c:v>3/3/21</c:v>
                </c:pt>
                <c:pt idx="330">
                  <c:v>3/4/21</c:v>
                </c:pt>
                <c:pt idx="331">
                  <c:v>3/5/21</c:v>
                </c:pt>
                <c:pt idx="332">
                  <c:v>3/6/21</c:v>
                </c:pt>
                <c:pt idx="333">
                  <c:v>3/7/21</c:v>
                </c:pt>
                <c:pt idx="334">
                  <c:v>3/8/21</c:v>
                </c:pt>
                <c:pt idx="335">
                  <c:v>3/9/21</c:v>
                </c:pt>
                <c:pt idx="336">
                  <c:v>3/10/21</c:v>
                </c:pt>
                <c:pt idx="337">
                  <c:v>3/11/21</c:v>
                </c:pt>
                <c:pt idx="338">
                  <c:v>3/12/21</c:v>
                </c:pt>
                <c:pt idx="339">
                  <c:v>3/13/21</c:v>
                </c:pt>
                <c:pt idx="340">
                  <c:v>3/14/21</c:v>
                </c:pt>
                <c:pt idx="341">
                  <c:v>3/15/21</c:v>
                </c:pt>
                <c:pt idx="342">
                  <c:v>3/16/21</c:v>
                </c:pt>
                <c:pt idx="343">
                  <c:v>3/17/21</c:v>
                </c:pt>
                <c:pt idx="344">
                  <c:v>3/18/21</c:v>
                </c:pt>
                <c:pt idx="345">
                  <c:v>3/19/21</c:v>
                </c:pt>
                <c:pt idx="346">
                  <c:v>3/20/21</c:v>
                </c:pt>
                <c:pt idx="347">
                  <c:v>3/21/21</c:v>
                </c:pt>
                <c:pt idx="348">
                  <c:v>3/22/21</c:v>
                </c:pt>
                <c:pt idx="349">
                  <c:v>3/23/21</c:v>
                </c:pt>
                <c:pt idx="350">
                  <c:v>3/24/21</c:v>
                </c:pt>
                <c:pt idx="351">
                  <c:v>3/25/21</c:v>
                </c:pt>
                <c:pt idx="352">
                  <c:v>3/26/21</c:v>
                </c:pt>
                <c:pt idx="353">
                  <c:v>3/27/21</c:v>
                </c:pt>
                <c:pt idx="354">
                  <c:v>3/28/21</c:v>
                </c:pt>
                <c:pt idx="355">
                  <c:v>3/29/21</c:v>
                </c:pt>
                <c:pt idx="356">
                  <c:v>3/30/21</c:v>
                </c:pt>
                <c:pt idx="357">
                  <c:v>3/31/21</c:v>
                </c:pt>
                <c:pt idx="358">
                  <c:v>4/1/21</c:v>
                </c:pt>
                <c:pt idx="359">
                  <c:v>4/2/21</c:v>
                </c:pt>
                <c:pt idx="360">
                  <c:v>4/3/21</c:v>
                </c:pt>
                <c:pt idx="361">
                  <c:v>4/4/21</c:v>
                </c:pt>
                <c:pt idx="362">
                  <c:v>4/5/21</c:v>
                </c:pt>
                <c:pt idx="363">
                  <c:v>4/6/21</c:v>
                </c:pt>
                <c:pt idx="364">
                  <c:v>4/7/21</c:v>
                </c:pt>
                <c:pt idx="365">
                  <c:v>4/8/21</c:v>
                </c:pt>
                <c:pt idx="366">
                  <c:v>4/9/21</c:v>
                </c:pt>
                <c:pt idx="367">
                  <c:v>4/10/21</c:v>
                </c:pt>
                <c:pt idx="368">
                  <c:v>4/11/21</c:v>
                </c:pt>
                <c:pt idx="369">
                  <c:v>4/12/21</c:v>
                </c:pt>
                <c:pt idx="370">
                  <c:v>4/13/21</c:v>
                </c:pt>
                <c:pt idx="371">
                  <c:v>4/14/21</c:v>
                </c:pt>
                <c:pt idx="372">
                  <c:v>4/15/21</c:v>
                </c:pt>
                <c:pt idx="373">
                  <c:v>4/16/21</c:v>
                </c:pt>
                <c:pt idx="374">
                  <c:v>4/17/21</c:v>
                </c:pt>
                <c:pt idx="375">
                  <c:v>4/18/21</c:v>
                </c:pt>
                <c:pt idx="376">
                  <c:v>4/19/21</c:v>
                </c:pt>
                <c:pt idx="377">
                  <c:v>4/20/21</c:v>
                </c:pt>
                <c:pt idx="378">
                  <c:v>4/21/21</c:v>
                </c:pt>
                <c:pt idx="379">
                  <c:v>4/22/21</c:v>
                </c:pt>
                <c:pt idx="380">
                  <c:v>4/23/21</c:v>
                </c:pt>
                <c:pt idx="381">
                  <c:v>4/24/21</c:v>
                </c:pt>
                <c:pt idx="382">
                  <c:v>4/25/21</c:v>
                </c:pt>
                <c:pt idx="383">
                  <c:v>4/26/21</c:v>
                </c:pt>
                <c:pt idx="384">
                  <c:v>4/27/21</c:v>
                </c:pt>
                <c:pt idx="385">
                  <c:v>4/28/21</c:v>
                </c:pt>
                <c:pt idx="386">
                  <c:v>4/29/21</c:v>
                </c:pt>
                <c:pt idx="387">
                  <c:v>4/30/21</c:v>
                </c:pt>
                <c:pt idx="388">
                  <c:v>5/1/21</c:v>
                </c:pt>
                <c:pt idx="389">
                  <c:v>5/2/21</c:v>
                </c:pt>
                <c:pt idx="390">
                  <c:v>5/3/21</c:v>
                </c:pt>
                <c:pt idx="391">
                  <c:v>5/4/21</c:v>
                </c:pt>
                <c:pt idx="392">
                  <c:v>5/5/21</c:v>
                </c:pt>
                <c:pt idx="393">
                  <c:v>5/6/21</c:v>
                </c:pt>
                <c:pt idx="394">
                  <c:v>5/7/21</c:v>
                </c:pt>
                <c:pt idx="395">
                  <c:v>5/8/21</c:v>
                </c:pt>
                <c:pt idx="396">
                  <c:v>5/9/21</c:v>
                </c:pt>
                <c:pt idx="397">
                  <c:v>5/10/21</c:v>
                </c:pt>
                <c:pt idx="398">
                  <c:v>5/11/21</c:v>
                </c:pt>
                <c:pt idx="399">
                  <c:v>5/12/21</c:v>
                </c:pt>
                <c:pt idx="400">
                  <c:v>5/13/21</c:v>
                </c:pt>
                <c:pt idx="401">
                  <c:v>5/14/21</c:v>
                </c:pt>
                <c:pt idx="402">
                  <c:v>5/15/21</c:v>
                </c:pt>
                <c:pt idx="403">
                  <c:v>5/16/21</c:v>
                </c:pt>
                <c:pt idx="404">
                  <c:v>5/17/21</c:v>
                </c:pt>
                <c:pt idx="405">
                  <c:v>5/18/21</c:v>
                </c:pt>
                <c:pt idx="406">
                  <c:v>5/19/21</c:v>
                </c:pt>
                <c:pt idx="407">
                  <c:v>5/20/21</c:v>
                </c:pt>
                <c:pt idx="408">
                  <c:v>5/21/21</c:v>
                </c:pt>
                <c:pt idx="409">
                  <c:v>5/22/21</c:v>
                </c:pt>
                <c:pt idx="410">
                  <c:v>5/23/21</c:v>
                </c:pt>
                <c:pt idx="411">
                  <c:v>5/24/21</c:v>
                </c:pt>
                <c:pt idx="412">
                  <c:v>5/25/21</c:v>
                </c:pt>
                <c:pt idx="413">
                  <c:v>5/26/21</c:v>
                </c:pt>
                <c:pt idx="414">
                  <c:v>5/27/21</c:v>
                </c:pt>
                <c:pt idx="415">
                  <c:v>5/28/21</c:v>
                </c:pt>
                <c:pt idx="416">
                  <c:v>5/29/21</c:v>
                </c:pt>
                <c:pt idx="417">
                  <c:v>5/30/21</c:v>
                </c:pt>
                <c:pt idx="418">
                  <c:v>5/31/21</c:v>
                </c:pt>
                <c:pt idx="419">
                  <c:v>6/1/21</c:v>
                </c:pt>
                <c:pt idx="420">
                  <c:v>6/2/21</c:v>
                </c:pt>
                <c:pt idx="421">
                  <c:v>6/3/21</c:v>
                </c:pt>
                <c:pt idx="422">
                  <c:v>6/4/21</c:v>
                </c:pt>
                <c:pt idx="423">
                  <c:v>6/5/21</c:v>
                </c:pt>
                <c:pt idx="424">
                  <c:v>6/6/21</c:v>
                </c:pt>
                <c:pt idx="425">
                  <c:v>6/7/21</c:v>
                </c:pt>
                <c:pt idx="426">
                  <c:v>6/8/21</c:v>
                </c:pt>
                <c:pt idx="427">
                  <c:v>6/9/21</c:v>
                </c:pt>
                <c:pt idx="428">
                  <c:v>6/10/21</c:v>
                </c:pt>
                <c:pt idx="429">
                  <c:v>6/11/21</c:v>
                </c:pt>
                <c:pt idx="430">
                  <c:v>6/12/21</c:v>
                </c:pt>
                <c:pt idx="431">
                  <c:v>6/13/21</c:v>
                </c:pt>
                <c:pt idx="432">
                  <c:v>6/14/21</c:v>
                </c:pt>
                <c:pt idx="433">
                  <c:v>6/15/21</c:v>
                </c:pt>
                <c:pt idx="434">
                  <c:v>6/16/21</c:v>
                </c:pt>
                <c:pt idx="435">
                  <c:v>6/17/21</c:v>
                </c:pt>
                <c:pt idx="436">
                  <c:v>6/18/21</c:v>
                </c:pt>
                <c:pt idx="437">
                  <c:v>6/19/21</c:v>
                </c:pt>
                <c:pt idx="438">
                  <c:v>6/20/21</c:v>
                </c:pt>
                <c:pt idx="439">
                  <c:v>6/21/21</c:v>
                </c:pt>
                <c:pt idx="440">
                  <c:v>6/22/21</c:v>
                </c:pt>
                <c:pt idx="441">
                  <c:v>6/23/21</c:v>
                </c:pt>
                <c:pt idx="442">
                  <c:v>6/24/21</c:v>
                </c:pt>
                <c:pt idx="443">
                  <c:v>6/25/21</c:v>
                </c:pt>
                <c:pt idx="444">
                  <c:v>6/26/21</c:v>
                </c:pt>
                <c:pt idx="445">
                  <c:v>6/27/21</c:v>
                </c:pt>
                <c:pt idx="446">
                  <c:v>6/28/21</c:v>
                </c:pt>
                <c:pt idx="447">
                  <c:v>6/29/21</c:v>
                </c:pt>
                <c:pt idx="448">
                  <c:v>6/30/21</c:v>
                </c:pt>
                <c:pt idx="449">
                  <c:v>7/1/21</c:v>
                </c:pt>
                <c:pt idx="450">
                  <c:v>7/2/21</c:v>
                </c:pt>
                <c:pt idx="451">
                  <c:v>7/3/21</c:v>
                </c:pt>
                <c:pt idx="452">
                  <c:v>7/4/21</c:v>
                </c:pt>
                <c:pt idx="453">
                  <c:v>7/5/21</c:v>
                </c:pt>
                <c:pt idx="454">
                  <c:v>7/6/21</c:v>
                </c:pt>
                <c:pt idx="455">
                  <c:v>7/7/21</c:v>
                </c:pt>
                <c:pt idx="456">
                  <c:v>7/8/21</c:v>
                </c:pt>
                <c:pt idx="457">
                  <c:v>7/9/21</c:v>
                </c:pt>
                <c:pt idx="458">
                  <c:v>7/10/21</c:v>
                </c:pt>
                <c:pt idx="459">
                  <c:v>7/11/21</c:v>
                </c:pt>
                <c:pt idx="460">
                  <c:v>7/12/21</c:v>
                </c:pt>
                <c:pt idx="461">
                  <c:v>7/13/21</c:v>
                </c:pt>
                <c:pt idx="462">
                  <c:v>7/14/21</c:v>
                </c:pt>
                <c:pt idx="463">
                  <c:v>7/15/21</c:v>
                </c:pt>
                <c:pt idx="464">
                  <c:v>7/16/21</c:v>
                </c:pt>
                <c:pt idx="465">
                  <c:v>7/17/21</c:v>
                </c:pt>
                <c:pt idx="466">
                  <c:v>7/18/21</c:v>
                </c:pt>
                <c:pt idx="467">
                  <c:v>7/19/21</c:v>
                </c:pt>
                <c:pt idx="468">
                  <c:v>7/20/21</c:v>
                </c:pt>
                <c:pt idx="469">
                  <c:v>7/21/21</c:v>
                </c:pt>
                <c:pt idx="470">
                  <c:v>7/22/21</c:v>
                </c:pt>
                <c:pt idx="471">
                  <c:v>7/23/21</c:v>
                </c:pt>
                <c:pt idx="472">
                  <c:v>7/24/21</c:v>
                </c:pt>
                <c:pt idx="473">
                  <c:v>7/25/21</c:v>
                </c:pt>
                <c:pt idx="474">
                  <c:v>7/26/21</c:v>
                </c:pt>
                <c:pt idx="475">
                  <c:v>7/27/21</c:v>
                </c:pt>
                <c:pt idx="476">
                  <c:v>7/28/21</c:v>
                </c:pt>
                <c:pt idx="477">
                  <c:v>7/29/21</c:v>
                </c:pt>
                <c:pt idx="478">
                  <c:v>7/30/21</c:v>
                </c:pt>
                <c:pt idx="479">
                  <c:v>7/31/21</c:v>
                </c:pt>
                <c:pt idx="480">
                  <c:v>8/1/21</c:v>
                </c:pt>
                <c:pt idx="481">
                  <c:v>8/2/21</c:v>
                </c:pt>
                <c:pt idx="482">
                  <c:v>8/3/21</c:v>
                </c:pt>
                <c:pt idx="483">
                  <c:v>8/4/21</c:v>
                </c:pt>
                <c:pt idx="484">
                  <c:v>8/5/21</c:v>
                </c:pt>
                <c:pt idx="485">
                  <c:v>8/6/21</c:v>
                </c:pt>
                <c:pt idx="486">
                  <c:v>8/7/21</c:v>
                </c:pt>
                <c:pt idx="487">
                  <c:v>8/8/21</c:v>
                </c:pt>
                <c:pt idx="488">
                  <c:v>8/9/21</c:v>
                </c:pt>
                <c:pt idx="489">
                  <c:v>8/10/21</c:v>
                </c:pt>
                <c:pt idx="490">
                  <c:v>8/11/21</c:v>
                </c:pt>
                <c:pt idx="491">
                  <c:v>8/12/21</c:v>
                </c:pt>
                <c:pt idx="492">
                  <c:v>8/13/21</c:v>
                </c:pt>
                <c:pt idx="493">
                  <c:v>8/14/21</c:v>
                </c:pt>
                <c:pt idx="494">
                  <c:v>8/15/21</c:v>
                </c:pt>
                <c:pt idx="495">
                  <c:v>8/16/21</c:v>
                </c:pt>
                <c:pt idx="496">
                  <c:v>8/17/21</c:v>
                </c:pt>
                <c:pt idx="497">
                  <c:v>8/18/21</c:v>
                </c:pt>
                <c:pt idx="498">
                  <c:v>8/19/21</c:v>
                </c:pt>
                <c:pt idx="499">
                  <c:v>8/20/21</c:v>
                </c:pt>
                <c:pt idx="500">
                  <c:v>8/21/21</c:v>
                </c:pt>
                <c:pt idx="501">
                  <c:v>8/22/21</c:v>
                </c:pt>
                <c:pt idx="502">
                  <c:v>8/23/21</c:v>
                </c:pt>
                <c:pt idx="503">
                  <c:v>8/24/21</c:v>
                </c:pt>
                <c:pt idx="504">
                  <c:v>8/25/21</c:v>
                </c:pt>
                <c:pt idx="505">
                  <c:v>8/26/21</c:v>
                </c:pt>
                <c:pt idx="506">
                  <c:v>8/27/21</c:v>
                </c:pt>
                <c:pt idx="507">
                  <c:v>8/28/21</c:v>
                </c:pt>
                <c:pt idx="508">
                  <c:v>8/29/21</c:v>
                </c:pt>
                <c:pt idx="509">
                  <c:v>8/30/21</c:v>
                </c:pt>
                <c:pt idx="510">
                  <c:v>8/31/21</c:v>
                </c:pt>
                <c:pt idx="511">
                  <c:v>9/1/21</c:v>
                </c:pt>
                <c:pt idx="512">
                  <c:v>9/2/21</c:v>
                </c:pt>
                <c:pt idx="513">
                  <c:v>9/3/21</c:v>
                </c:pt>
                <c:pt idx="514">
                  <c:v>9/4/21</c:v>
                </c:pt>
                <c:pt idx="515">
                  <c:v>9/5/21</c:v>
                </c:pt>
                <c:pt idx="516">
                  <c:v>9/6/21</c:v>
                </c:pt>
                <c:pt idx="517">
                  <c:v>9/7/21</c:v>
                </c:pt>
                <c:pt idx="518">
                  <c:v>9/8/21</c:v>
                </c:pt>
                <c:pt idx="519">
                  <c:v>9/9/21</c:v>
                </c:pt>
                <c:pt idx="520">
                  <c:v>9/10/21</c:v>
                </c:pt>
                <c:pt idx="521">
                  <c:v>9/11/21</c:v>
                </c:pt>
                <c:pt idx="522">
                  <c:v>9/12/21</c:v>
                </c:pt>
                <c:pt idx="523">
                  <c:v>9/13/21</c:v>
                </c:pt>
                <c:pt idx="524">
                  <c:v>9/14/21</c:v>
                </c:pt>
                <c:pt idx="525">
                  <c:v>9/15/21</c:v>
                </c:pt>
                <c:pt idx="526">
                  <c:v>9/16/21</c:v>
                </c:pt>
                <c:pt idx="527">
                  <c:v>9/17/21</c:v>
                </c:pt>
                <c:pt idx="528">
                  <c:v>9/18/21</c:v>
                </c:pt>
                <c:pt idx="529">
                  <c:v>9/19/21</c:v>
                </c:pt>
                <c:pt idx="530">
                  <c:v>9/20/21</c:v>
                </c:pt>
                <c:pt idx="531">
                  <c:v>9/21/21</c:v>
                </c:pt>
                <c:pt idx="532">
                  <c:v>9/22/21</c:v>
                </c:pt>
                <c:pt idx="533">
                  <c:v>9/23/21</c:v>
                </c:pt>
                <c:pt idx="534">
                  <c:v>9/24/21</c:v>
                </c:pt>
                <c:pt idx="535">
                  <c:v>9/25/21</c:v>
                </c:pt>
                <c:pt idx="536">
                  <c:v>9/26/21</c:v>
                </c:pt>
                <c:pt idx="537">
                  <c:v>9/27/21</c:v>
                </c:pt>
                <c:pt idx="538">
                  <c:v>9/28/21</c:v>
                </c:pt>
                <c:pt idx="539">
                  <c:v>9/29/21</c:v>
                </c:pt>
                <c:pt idx="540">
                  <c:v>9/30/21</c:v>
                </c:pt>
                <c:pt idx="541">
                  <c:v>10/1/21</c:v>
                </c:pt>
                <c:pt idx="542">
                  <c:v>10/2/21</c:v>
                </c:pt>
                <c:pt idx="543">
                  <c:v>10/3/21</c:v>
                </c:pt>
                <c:pt idx="544">
                  <c:v>10/4/21</c:v>
                </c:pt>
                <c:pt idx="545">
                  <c:v>10/5/21</c:v>
                </c:pt>
                <c:pt idx="546">
                  <c:v>10/6/21</c:v>
                </c:pt>
                <c:pt idx="547">
                  <c:v>10/7/21</c:v>
                </c:pt>
                <c:pt idx="548">
                  <c:v>10/8/21</c:v>
                </c:pt>
                <c:pt idx="549">
                  <c:v>10/9/21</c:v>
                </c:pt>
                <c:pt idx="550">
                  <c:v>10/10/21</c:v>
                </c:pt>
              </c:strCache>
            </c:strRef>
          </c:cat>
          <c:val>
            <c:numRef>
              <c:f>chart!$C$4:$C$555</c:f>
              <c:numCache>
                <c:formatCode>General</c:formatCode>
                <c:ptCount val="5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numCache>
            </c:numRef>
          </c:val>
          <c:smooth val="0"/>
          <c:extLst>
            <c:ext xmlns:c16="http://schemas.microsoft.com/office/drawing/2014/chart" uri="{C3380CC4-5D6E-409C-BE32-E72D297353CC}">
              <c16:uniqueId val="{00000002-D763-B247-B313-28231883E609}"/>
            </c:ext>
          </c:extLst>
        </c:ser>
        <c:dLbls>
          <c:showLegendKey val="0"/>
          <c:showVal val="0"/>
          <c:showCatName val="0"/>
          <c:showSerName val="0"/>
          <c:showPercent val="0"/>
          <c:showBubbleSize val="0"/>
        </c:dLbls>
        <c:smooth val="0"/>
        <c:axId val="1579432575"/>
        <c:axId val="1579774319"/>
      </c:lineChart>
      <c:catAx>
        <c:axId val="1579432575"/>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79774319"/>
        <c:crosses val="autoZero"/>
        <c:auto val="1"/>
        <c:lblAlgn val="ctr"/>
        <c:lblOffset val="100"/>
        <c:tickMarkSkip val="1"/>
        <c:noMultiLvlLbl val="0"/>
      </c:catAx>
      <c:valAx>
        <c:axId val="15797743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79432575"/>
        <c:crosses val="autoZero"/>
        <c:crossBetween val="midCat"/>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06F1A279-B86B-4514-A11B-9375AA905A6A}" type="datetimeFigureOut">
              <a:rPr lang="en-US" smtClean="0"/>
              <a:t>10/12/21</a:t>
            </a:fld>
            <a:endParaRPr lang="en-US"/>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325" y="4445000"/>
            <a:ext cx="5559425" cy="3636963"/>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525"/>
            <a:ext cx="3011488"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7000" y="8772525"/>
            <a:ext cx="3011488" cy="463550"/>
          </a:xfrm>
          <a:prstGeom prst="rect">
            <a:avLst/>
          </a:prstGeom>
        </p:spPr>
        <p:txBody>
          <a:bodyPr vert="horz" lIns="91440" tIns="45720" rIns="91440" bIns="45720" rtlCol="0" anchor="b"/>
          <a:lstStyle>
            <a:lvl1pPr algn="r">
              <a:defRPr sz="1200"/>
            </a:lvl1pPr>
          </a:lstStyle>
          <a:p>
            <a:fld id="{00FED656-A7DB-40B4-B6E9-2D5A83B18E19}" type="slidenum">
              <a:rPr lang="en-US" smtClean="0"/>
              <a:t>‹#›</a:t>
            </a:fld>
            <a:endParaRPr lang="en-US"/>
          </a:p>
        </p:txBody>
      </p:sp>
    </p:spTree>
    <p:extLst>
      <p:ext uri="{BB962C8B-B14F-4D97-AF65-F5344CB8AC3E}">
        <p14:creationId xmlns:p14="http://schemas.microsoft.com/office/powerpoint/2010/main" val="3450141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299712"/>
            <a:ext cx="12192000" cy="7157711"/>
          </a:xfrm>
          <a:prstGeom prst="rect">
            <a:avLst/>
          </a:prstGeom>
        </p:spPr>
      </p:pic>
      <p:sp>
        <p:nvSpPr>
          <p:cNvPr id="4" name="Title 3"/>
          <p:cNvSpPr>
            <a:spLocks noGrp="1"/>
          </p:cNvSpPr>
          <p:nvPr>
            <p:ph type="title"/>
          </p:nvPr>
        </p:nvSpPr>
        <p:spPr>
          <a:xfrm>
            <a:off x="609602" y="342902"/>
            <a:ext cx="10972799"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609603"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609601"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fld id="{8FCE484C-F504-4A63-A5F5-9D4870D4C98D}" type="datetimeFigureOut">
              <a:rPr lang="en-US" smtClean="0"/>
              <a:t>10/12/21</a:t>
            </a:fld>
            <a:endParaRPr lang="en-US"/>
          </a:p>
        </p:txBody>
      </p:sp>
      <p:pic>
        <p:nvPicPr>
          <p:cNvPr id="14" name="Picture 13" descr="A close up of a sign&#10;&#10;Description automatically generated">
            <a:extLst>
              <a:ext uri="{FF2B5EF4-FFF2-40B4-BE49-F238E27FC236}">
                <a16:creationId xmlns:a16="http://schemas.microsoft.com/office/drawing/2014/main" id="{7012197A-6C35-7B49-B22F-CAF3D52463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034" y="4352569"/>
            <a:ext cx="1651442" cy="857298"/>
          </a:xfrm>
          <a:prstGeom prst="rect">
            <a:avLst/>
          </a:prstGeom>
        </p:spPr>
      </p:pic>
    </p:spTree>
    <p:extLst>
      <p:ext uri="{BB962C8B-B14F-4D97-AF65-F5344CB8AC3E}">
        <p14:creationId xmlns:p14="http://schemas.microsoft.com/office/powerpoint/2010/main" val="167199358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94969" y="1584326"/>
            <a:ext cx="5287433"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cxnSp>
        <p:nvCxnSpPr>
          <p:cNvPr id="11" name="Straight Connector 10">
            <a:extLst>
              <a:ext uri="{FF2B5EF4-FFF2-40B4-BE49-F238E27FC236}">
                <a16:creationId xmlns:a16="http://schemas.microsoft.com/office/drawing/2014/main" id="{B10F3544-2CD2-DA4B-891B-1BF196A50704}"/>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7651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col caption">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94969" y="1584329"/>
            <a:ext cx="528743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94969" y="5332024"/>
            <a:ext cx="5287433"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cxnSp>
        <p:nvCxnSpPr>
          <p:cNvPr id="11" name="Straight Connector 10">
            <a:extLst>
              <a:ext uri="{FF2B5EF4-FFF2-40B4-BE49-F238E27FC236}">
                <a16:creationId xmlns:a16="http://schemas.microsoft.com/office/drawing/2014/main" id="{3749C57A-40D3-284B-A710-F9DC63E9616B}"/>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405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cxnSp>
        <p:nvCxnSpPr>
          <p:cNvPr id="11" name="Straight Connector 10">
            <a:extLst>
              <a:ext uri="{FF2B5EF4-FFF2-40B4-BE49-F238E27FC236}">
                <a16:creationId xmlns:a16="http://schemas.microsoft.com/office/drawing/2014/main" id="{3749C57A-40D3-284B-A710-F9DC63E9616B}"/>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94969" y="1584328"/>
            <a:ext cx="5287433" cy="4676775"/>
          </a:xfrm>
          <a:pattFill prst="pct10">
            <a:fgClr>
              <a:schemeClr val="tx2"/>
            </a:fgClr>
            <a:bgClr>
              <a:schemeClr val="bg1"/>
            </a:bgClr>
          </a:pattFill>
        </p:spPr>
        <p:txBody>
          <a:bodyPr tIns="2468880"/>
          <a:lstStyle>
            <a:lvl1pPr algn="ctr">
              <a:defRPr/>
            </a:lvl1pPr>
          </a:lstStyle>
          <a:p>
            <a:r>
              <a:rPr lang="en-US"/>
              <a:t>Click icon to add chart</a:t>
            </a:r>
          </a:p>
        </p:txBody>
      </p:sp>
    </p:spTree>
    <p:extLst>
      <p:ext uri="{BB962C8B-B14F-4D97-AF65-F5344CB8AC3E}">
        <p14:creationId xmlns:p14="http://schemas.microsoft.com/office/powerpoint/2010/main" val="1414947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cxnSp>
        <p:nvCxnSpPr>
          <p:cNvPr id="11" name="Straight Connector 10">
            <a:extLst>
              <a:ext uri="{FF2B5EF4-FFF2-40B4-BE49-F238E27FC236}">
                <a16:creationId xmlns:a16="http://schemas.microsoft.com/office/drawing/2014/main" id="{3749C57A-40D3-284B-A710-F9DC63E9616B}"/>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94969" y="1584328"/>
            <a:ext cx="5287433" cy="4676775"/>
          </a:xfrm>
          <a:pattFill prst="pct10">
            <a:fgClr>
              <a:schemeClr val="accent1"/>
            </a:fgClr>
            <a:bgClr>
              <a:schemeClr val="bg1"/>
            </a:bgClr>
          </a:pattFill>
        </p:spPr>
        <p:txBody>
          <a:bodyPr tIns="2514600"/>
          <a:lstStyle>
            <a:lvl1pPr algn="ctr">
              <a:defRPr/>
            </a:lvl1pPr>
          </a:lstStyle>
          <a:p>
            <a:r>
              <a:rPr lang="en-US"/>
              <a:t>Click icon to add table</a:t>
            </a:r>
          </a:p>
        </p:txBody>
      </p:sp>
    </p:spTree>
    <p:extLst>
      <p:ext uri="{BB962C8B-B14F-4D97-AF65-F5344CB8AC3E}">
        <p14:creationId xmlns:p14="http://schemas.microsoft.com/office/powerpoint/2010/main" val="18614232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6"/>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4469916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94967" y="342900"/>
            <a:ext cx="5287432"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p:nvCxnSpPr>
        <p:spPr>
          <a:xfrm>
            <a:off x="6602437" y="1325563"/>
            <a:ext cx="4979963"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94969" y="1584328"/>
            <a:ext cx="5287433"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017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94967" y="342900"/>
            <a:ext cx="5287432"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p:nvCxnSpPr>
        <p:spPr>
          <a:xfrm>
            <a:off x="6602437" y="1325563"/>
            <a:ext cx="4979963"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94969" y="1584328"/>
            <a:ext cx="5287433"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692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fld id="{8FCE484C-F504-4A63-A5F5-9D4870D4C98D}" type="datetimeFigureOut">
              <a:rPr lang="en-US" smtClean="0"/>
              <a:t>10/12/21</a:t>
            </a:fld>
            <a:endParaRPr lang="en-US"/>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799920" y="0"/>
            <a:ext cx="4392081"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97007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5" name="Title 4">
            <a:extLst>
              <a:ext uri="{FF2B5EF4-FFF2-40B4-BE49-F238E27FC236}">
                <a16:creationId xmlns:a16="http://schemas.microsoft.com/office/drawing/2014/main" id="{2018F322-4526-4A42-8E1A-638AC0E03161}"/>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fld id="{8FCE484C-F504-4A63-A5F5-9D4870D4C98D}" type="datetimeFigureOut">
              <a:rPr lang="en-US" smtClean="0"/>
              <a:t>10/12/21</a:t>
            </a:fld>
            <a:endParaRPr lang="en-US"/>
          </a:p>
        </p:txBody>
      </p:sp>
      <p:cxnSp>
        <p:nvCxnSpPr>
          <p:cNvPr id="7" name="Straight Connector 6">
            <a:extLst>
              <a:ext uri="{FF2B5EF4-FFF2-40B4-BE49-F238E27FC236}">
                <a16:creationId xmlns:a16="http://schemas.microsoft.com/office/drawing/2014/main" id="{835FCF01-E355-D141-8A9B-69E97C0DE571}"/>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4764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fld id="{8FCE484C-F504-4A63-A5F5-9D4870D4C98D}" type="datetimeFigureOut">
              <a:rPr lang="en-US" smtClean="0"/>
              <a:t>10/12/21</a:t>
            </a:fld>
            <a:endParaRPr lang="en-US"/>
          </a:p>
        </p:txBody>
      </p:sp>
    </p:spTree>
    <p:extLst>
      <p:ext uri="{BB962C8B-B14F-4D97-AF65-F5344CB8AC3E}">
        <p14:creationId xmlns:p14="http://schemas.microsoft.com/office/powerpoint/2010/main" val="26416842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60ED7FF-B301-DB49-88A6-4CD72677E4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609601" y="1584327"/>
            <a:ext cx="7190319"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p:nvSpPr>
        <p:spPr>
          <a:xfrm>
            <a:off x="10086109"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fld id="{8FCE484C-F504-4A63-A5F5-9D4870D4C98D}" type="datetimeFigureOut">
              <a:rPr lang="en-US" smtClean="0"/>
              <a:t>10/12/21</a:t>
            </a:fld>
            <a:endParaRPr lang="en-US"/>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B9BD39B7-684D-4423-8BB6-5C8BA622930A}" type="slidenum">
              <a:rPr lang="en-US" smtClean="0"/>
              <a:t>‹#›</a:t>
            </a:fld>
            <a:endParaRPr lang="en-US"/>
          </a:p>
        </p:txBody>
      </p:sp>
    </p:spTree>
    <p:extLst>
      <p:ext uri="{BB962C8B-B14F-4D97-AF65-F5344CB8AC3E}">
        <p14:creationId xmlns:p14="http://schemas.microsoft.com/office/powerpoint/2010/main" val="417158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9174749E-3478-0846-8E5D-5A453C217D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609601" y="1584327"/>
            <a:ext cx="7190319"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fld id="{8FCE484C-F504-4A63-A5F5-9D4870D4C98D}" type="datetimeFigureOut">
              <a:rPr lang="en-US" smtClean="0"/>
              <a:t>10/12/21</a:t>
            </a:fld>
            <a:endParaRPr lang="en-US"/>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B9BD39B7-684D-4423-8BB6-5C8BA622930A}" type="slidenum">
              <a:rPr lang="en-US" smtClean="0"/>
              <a:t>‹#›</a:t>
            </a:fld>
            <a:endParaRPr lang="en-US"/>
          </a:p>
        </p:txBody>
      </p:sp>
      <p:sp>
        <p:nvSpPr>
          <p:cNvPr id="8" name="TextBox 7">
            <a:extLst>
              <a:ext uri="{FF2B5EF4-FFF2-40B4-BE49-F238E27FC236}">
                <a16:creationId xmlns:a16="http://schemas.microsoft.com/office/drawing/2014/main" id="{DF21B976-CB04-C147-BDC7-E24651677804}"/>
              </a:ext>
            </a:extLst>
          </p:cNvPr>
          <p:cNvSpPr txBox="1"/>
          <p:nvPr/>
        </p:nvSpPr>
        <p:spPr>
          <a:xfrm>
            <a:off x="10086109"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4214247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fld id="{8FCE484C-F504-4A63-A5F5-9D4870D4C98D}" type="datetimeFigureOut">
              <a:rPr lang="en-US" smtClean="0"/>
              <a:t>10/12/21</a:t>
            </a:fld>
            <a:endParaRPr lang="en-US"/>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B9BD39B7-684D-4423-8BB6-5C8BA622930A}" type="slidenum">
              <a:rPr lang="en-US" smtClean="0"/>
              <a:t>‹#›</a:t>
            </a:fld>
            <a:endParaRPr lang="en-US"/>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609600" y="1584327"/>
            <a:ext cx="7190317" cy="4676775"/>
          </a:xfrm>
        </p:spPr>
        <p:txBody>
          <a:bodyPr tIns="0" rIns="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20247244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fld id="{8FCE484C-F504-4A63-A5F5-9D4870D4C98D}" type="datetimeFigureOut">
              <a:rPr lang="en-US" smtClean="0"/>
              <a:t>10/12/21</a:t>
            </a:fld>
            <a:endParaRPr lang="en-US"/>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endParaRPr lang="en-US"/>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B9BD39B7-684D-4423-8BB6-5C8BA622930A}" type="slidenum">
              <a:rPr lang="en-US" smtClean="0"/>
              <a:t>‹#›</a:t>
            </a:fld>
            <a:endParaRPr lang="en-US"/>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609600" y="1584327"/>
            <a:ext cx="7190317" cy="4676775"/>
          </a:xfrm>
        </p:spPr>
        <p:txBody>
          <a:bodyPr tIns="0" rIns="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3077984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34700-F4A7-F34F-A23C-0C066A95CBF6}"/>
              </a:ext>
            </a:extLst>
          </p:cNvPr>
          <p:cNvSpPr>
            <a:spLocks noGrp="1"/>
          </p:cNvSpPr>
          <p:nvPr>
            <p:ph type="title" hasCustomPrompt="1"/>
          </p:nvPr>
        </p:nvSpPr>
        <p:spPr>
          <a:xfrm>
            <a:off x="609601" y="342900"/>
            <a:ext cx="10972799" cy="723900"/>
          </a:xfrm>
        </p:spPr>
        <p:txBody>
          <a:bodyPr tIns="914400" bIns="0" anchor="b" anchorCtr="0"/>
          <a:lstStyle>
            <a:lvl1pPr>
              <a:defRPr sz="3000" b="1">
                <a:solidFill>
                  <a:schemeClr val="accent2"/>
                </a:solidFill>
              </a:defRPr>
            </a:lvl1pPr>
          </a:lstStyle>
          <a:p>
            <a:r>
              <a:rPr lang="en-US" dirty="0"/>
              <a:t>Agenda</a:t>
            </a:r>
          </a:p>
        </p:txBody>
      </p:sp>
      <p:sp>
        <p:nvSpPr>
          <p:cNvPr id="12" name="Text Placeholder 11">
            <a:extLst>
              <a:ext uri="{FF2B5EF4-FFF2-40B4-BE49-F238E27FC236}">
                <a16:creationId xmlns:a16="http://schemas.microsoft.com/office/drawing/2014/main" id="{C124A59C-4214-BC45-BE24-A83D937AD860}"/>
              </a:ext>
            </a:extLst>
          </p:cNvPr>
          <p:cNvSpPr>
            <a:spLocks noGrp="1"/>
          </p:cNvSpPr>
          <p:nvPr>
            <p:ph type="body" sz="quarter" idx="12"/>
          </p:nvPr>
        </p:nvSpPr>
        <p:spPr>
          <a:xfrm>
            <a:off x="609603" y="1584328"/>
            <a:ext cx="10972799" cy="4676775"/>
          </a:xfrm>
        </p:spPr>
        <p:txBody>
          <a:bodyPr/>
          <a:lstStyle>
            <a:lvl1pPr marL="347472" indent="-342900">
              <a:lnSpc>
                <a:spcPct val="99000"/>
              </a:lnSpc>
              <a:buClr>
                <a:schemeClr val="accent1"/>
              </a:buClr>
              <a:buFont typeface="+mj-lt"/>
              <a:buAutoNum type="arabicPeriod"/>
              <a:defRPr sz="1800" b="0">
                <a:solidFill>
                  <a:schemeClr val="accent1"/>
                </a:solidFill>
              </a:defRPr>
            </a:lvl1pPr>
            <a:lvl2pPr marL="0" indent="-342900" defTabSz="292608">
              <a:lnSpc>
                <a:spcPct val="99000"/>
              </a:lnSpc>
              <a:buClr>
                <a:schemeClr val="accent1"/>
              </a:buClr>
              <a:buFont typeface="+mj-lt"/>
              <a:buAutoNum type="arabicPeriod"/>
              <a:tabLst>
                <a:tab pos="292608" algn="l"/>
                <a:tab pos="585216" algn="l"/>
              </a:tabLst>
              <a:defRPr sz="1800" b="0">
                <a:solidFill>
                  <a:schemeClr val="accent1"/>
                </a:solidFill>
              </a:defRPr>
            </a:lvl2pPr>
            <a:lvl3pPr marL="0" indent="-342900">
              <a:lnSpc>
                <a:spcPct val="99000"/>
              </a:lnSpc>
              <a:buClr>
                <a:schemeClr val="accent1"/>
              </a:buClr>
              <a:buFont typeface="+mj-lt"/>
              <a:buAutoNum type="arabicPeriod"/>
              <a:defRPr sz="1800" b="0">
                <a:solidFill>
                  <a:schemeClr val="accent1"/>
                </a:solidFill>
              </a:defRPr>
            </a:lvl3pPr>
            <a:lvl4pPr marL="0" indent="-342900">
              <a:lnSpc>
                <a:spcPct val="99000"/>
              </a:lnSpc>
              <a:buClr>
                <a:schemeClr val="accent1"/>
              </a:buClr>
              <a:buSzPct val="100000"/>
              <a:buFont typeface="+mj-lt"/>
              <a:buAutoNum type="arabicPeriod"/>
              <a:defRPr sz="1800" b="0">
                <a:solidFill>
                  <a:schemeClr val="accent1"/>
                </a:solidFill>
              </a:defRPr>
            </a:lvl4pPr>
            <a:lvl5pPr marL="0" indent="-342900">
              <a:lnSpc>
                <a:spcPct val="99000"/>
              </a:lnSpc>
              <a:buClr>
                <a:schemeClr val="accent1"/>
              </a:buClr>
              <a:buSzPct val="100000"/>
              <a:buFont typeface="+mj-lt"/>
              <a:buAutoNum type="arabicPeriod"/>
              <a:defRPr sz="1800" b="0">
                <a:solidFill>
                  <a:schemeClr val="accent1"/>
                </a:solidFill>
              </a:defRPr>
            </a:lvl5pPr>
            <a:lvl6pPr marL="0" indent="-342900">
              <a:lnSpc>
                <a:spcPct val="99000"/>
              </a:lnSpc>
              <a:buClr>
                <a:schemeClr val="accent1"/>
              </a:buClr>
              <a:buSzPct val="100000"/>
              <a:buFont typeface="+mj-lt"/>
              <a:buAutoNum type="arabicPeriod"/>
              <a:defRPr sz="1800" b="0">
                <a:solidFill>
                  <a:schemeClr val="accent1"/>
                </a:solidFill>
              </a:defRPr>
            </a:lvl6pPr>
            <a:lvl7pPr marL="0" indent="-342900">
              <a:lnSpc>
                <a:spcPct val="99000"/>
              </a:lnSpc>
              <a:buClr>
                <a:schemeClr val="accent1"/>
              </a:buClr>
              <a:buSzPct val="100000"/>
              <a:buFont typeface="+mj-lt"/>
              <a:buAutoNum type="arabicPeriod"/>
              <a:defRPr sz="1800" b="0">
                <a:solidFill>
                  <a:schemeClr val="accent1"/>
                </a:solidFill>
              </a:defRPr>
            </a:lvl7pPr>
            <a:lvl8pPr marL="0" indent="-342900">
              <a:lnSpc>
                <a:spcPct val="99000"/>
              </a:lnSpc>
              <a:buClr>
                <a:schemeClr val="accent1"/>
              </a:buClr>
              <a:buSzPct val="100000"/>
              <a:buFont typeface="+mj-lt"/>
              <a:buAutoNum type="arabicPeriod"/>
              <a:defRPr sz="1800" b="0">
                <a:solidFill>
                  <a:schemeClr val="accent1"/>
                </a:solidFill>
              </a:defRPr>
            </a:lvl8pPr>
            <a:lvl9pPr marL="0" indent="-342900">
              <a:lnSpc>
                <a:spcPct val="99000"/>
              </a:lnSpc>
              <a:buClr>
                <a:schemeClr val="accent1"/>
              </a:buClr>
              <a:buSzPct val="100000"/>
              <a:buFont typeface="+mj-lt"/>
              <a:buAutoNum type="arabicPeriod"/>
              <a:defRPr sz="1800" b="0">
                <a:solidFill>
                  <a:schemeClr val="accent1"/>
                </a:solidFill>
              </a:defRPr>
            </a:lvl9pPr>
          </a:lstStyle>
          <a:p>
            <a:pPr lvl="0"/>
            <a:r>
              <a:rPr lang="en-US"/>
              <a:t>Edit Master text styles</a:t>
            </a:r>
          </a:p>
          <a:p>
            <a:pPr lvl="1"/>
            <a:r>
              <a:rPr lang="en-US"/>
              <a:t>Second level</a:t>
            </a:r>
          </a:p>
        </p:txBody>
      </p:sp>
      <p:sp>
        <p:nvSpPr>
          <p:cNvPr id="6" name="Date Placeholder 5">
            <a:extLst>
              <a:ext uri="{FF2B5EF4-FFF2-40B4-BE49-F238E27FC236}">
                <a16:creationId xmlns:a16="http://schemas.microsoft.com/office/drawing/2014/main" id="{581496EB-8D97-3E4F-8DC3-4335EEECEA1F}"/>
              </a:ext>
            </a:extLst>
          </p:cNvPr>
          <p:cNvSpPr>
            <a:spLocks noGrp="1"/>
          </p:cNvSpPr>
          <p:nvPr>
            <p:ph type="dt" sz="half" idx="13"/>
          </p:nvPr>
        </p:nvSpPr>
        <p:spPr/>
        <p:txBody>
          <a:bodyPr/>
          <a:lstStyle/>
          <a:p>
            <a:fld id="{8FCE484C-F504-4A63-A5F5-9D4870D4C98D}" type="datetimeFigureOut">
              <a:rPr lang="en-US" smtClean="0"/>
              <a:t>10/12/21</a:t>
            </a:fld>
            <a:endParaRPr lang="en-US"/>
          </a:p>
        </p:txBody>
      </p:sp>
      <p:sp>
        <p:nvSpPr>
          <p:cNvPr id="7" name="Footer Placeholder 6">
            <a:extLst>
              <a:ext uri="{FF2B5EF4-FFF2-40B4-BE49-F238E27FC236}">
                <a16:creationId xmlns:a16="http://schemas.microsoft.com/office/drawing/2014/main" id="{C6C0F40B-3978-F243-90D1-7C4023761C86}"/>
              </a:ext>
            </a:extLst>
          </p:cNvPr>
          <p:cNvSpPr>
            <a:spLocks noGrp="1"/>
          </p:cNvSpPr>
          <p:nvPr>
            <p:ph type="ftr" sz="quarter" idx="14"/>
          </p:nvPr>
        </p:nvSpPr>
        <p:spPr/>
        <p:txBody>
          <a:bodyPr/>
          <a:lstStyle/>
          <a:p>
            <a:endParaRPr lang="en-US"/>
          </a:p>
        </p:txBody>
      </p:sp>
      <p:sp>
        <p:nvSpPr>
          <p:cNvPr id="8" name="Slide Number Placeholder 7">
            <a:extLst>
              <a:ext uri="{FF2B5EF4-FFF2-40B4-BE49-F238E27FC236}">
                <a16:creationId xmlns:a16="http://schemas.microsoft.com/office/drawing/2014/main" id="{36AB1F8E-810C-BD44-BE5F-27303BEDE97A}"/>
              </a:ext>
            </a:extLst>
          </p:cNvPr>
          <p:cNvSpPr>
            <a:spLocks noGrp="1"/>
          </p:cNvSpPr>
          <p:nvPr>
            <p:ph type="sldNum" sz="quarter" idx="15"/>
          </p:nvPr>
        </p:nvSpPr>
        <p:spPr/>
        <p:txBody>
          <a:bodyPr/>
          <a:lstStyle/>
          <a:p>
            <a:fld id="{B9BD39B7-684D-4423-8BB6-5C8BA622930A}" type="slidenum">
              <a:rPr lang="en-US" smtClean="0"/>
              <a:t>‹#›</a:t>
            </a:fld>
            <a:endParaRPr lang="en-US"/>
          </a:p>
        </p:txBody>
      </p:sp>
      <p:cxnSp>
        <p:nvCxnSpPr>
          <p:cNvPr id="4" name="Straight Connector 3">
            <a:extLst>
              <a:ext uri="{FF2B5EF4-FFF2-40B4-BE49-F238E27FC236}">
                <a16:creationId xmlns:a16="http://schemas.microsoft.com/office/drawing/2014/main" id="{190729CB-939B-6144-BEC4-603CD8E62058}"/>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167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599" y="1584324"/>
            <a:ext cx="10972800"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0A75E391-5DF6-8A45-9113-02BCED9771F0}"/>
              </a:ext>
            </a:extLst>
          </p:cNvPr>
          <p:cNvSpPr>
            <a:spLocks noGrp="1"/>
          </p:cNvSpPr>
          <p:nvPr>
            <p:ph type="title"/>
          </p:nvPr>
        </p:nvSpPr>
        <p:spPr>
          <a:xfrm>
            <a:off x="609599" y="342900"/>
            <a:ext cx="10972800" cy="723900"/>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22CD5F2E-8E58-A14B-B80C-9B6594482EB6}"/>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1033993"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fld id="{8FCE484C-F504-4A63-A5F5-9D4870D4C98D}" type="datetimeFigureOut">
              <a:rPr lang="en-US" smtClean="0"/>
              <a:t>10/12/21</a:t>
            </a:fld>
            <a:endParaRPr lang="en-US"/>
          </a:p>
        </p:txBody>
      </p:sp>
    </p:spTree>
    <p:extLst>
      <p:ext uri="{BB962C8B-B14F-4D97-AF65-F5344CB8AC3E}">
        <p14:creationId xmlns:p14="http://schemas.microsoft.com/office/powerpoint/2010/main" val="2131256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94969" y="1584326"/>
            <a:ext cx="528743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3FCF24DE-84A8-7A48-9A78-60AE35523992}"/>
              </a:ext>
            </a:extLst>
          </p:cNvPr>
          <p:cNvSpPr>
            <a:spLocks noGrp="1"/>
          </p:cNvSpPr>
          <p:nvPr>
            <p:ph type="title"/>
          </p:nvPr>
        </p:nvSpPr>
        <p:spPr>
          <a:xfrm>
            <a:off x="609601" y="342900"/>
            <a:ext cx="10972801" cy="723900"/>
          </a:xfrm>
        </p:spPr>
        <p:txBody>
          <a:bodyPr/>
          <a:lstStyle/>
          <a:p>
            <a:r>
              <a:rPr lang="en-US"/>
              <a:t>Click to edit Master title style</a:t>
            </a:r>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fld id="{8FCE484C-F504-4A63-A5F5-9D4870D4C98D}" type="datetimeFigureOut">
              <a:rPr lang="en-US" smtClean="0"/>
              <a:t>10/12/21</a:t>
            </a:fld>
            <a:endParaRPr lang="en-US"/>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endParaRPr lang="en-US"/>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B9BD39B7-684D-4423-8BB6-5C8BA622930A}" type="slidenum">
              <a:rPr lang="en-US" smtClean="0"/>
              <a:t>‹#›</a:t>
            </a:fld>
            <a:endParaRPr lang="en-US"/>
          </a:p>
        </p:txBody>
      </p:sp>
      <p:cxnSp>
        <p:nvCxnSpPr>
          <p:cNvPr id="13" name="Straight Connector 12">
            <a:extLst>
              <a:ext uri="{FF2B5EF4-FFF2-40B4-BE49-F238E27FC236}">
                <a16:creationId xmlns:a16="http://schemas.microsoft.com/office/drawing/2014/main" id="{15107BC0-417D-C644-BE0C-0C6F14AE94F2}"/>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35165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fld id="{B9BD39B7-684D-4423-8BB6-5C8BA622930A}" type="slidenum">
              <a:rPr lang="en-US" smtClean="0"/>
              <a:t>‹#›</a:t>
            </a:fld>
            <a:endParaRPr lang="en-US"/>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2" y="1584324"/>
            <a:ext cx="341206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92085" y="1584327"/>
            <a:ext cx="3407835"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1" y="1584324"/>
            <a:ext cx="3409951"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fld id="{8FCE484C-F504-4A63-A5F5-9D4870D4C98D}" type="datetimeFigureOut">
              <a:rPr lang="en-US" smtClean="0"/>
              <a:t>10/12/21</a:t>
            </a:fld>
            <a:endParaRPr lang="en-US"/>
          </a:p>
        </p:txBody>
      </p:sp>
      <p:sp>
        <p:nvSpPr>
          <p:cNvPr id="10" name="Title 9">
            <a:extLst>
              <a:ext uri="{FF2B5EF4-FFF2-40B4-BE49-F238E27FC236}">
                <a16:creationId xmlns:a16="http://schemas.microsoft.com/office/drawing/2014/main" id="{17179FC8-F3CD-6145-AC85-15F1B43C994C}"/>
              </a:ext>
            </a:extLst>
          </p:cNvPr>
          <p:cNvSpPr>
            <a:spLocks noGrp="1"/>
          </p:cNvSpPr>
          <p:nvPr>
            <p:ph type="title"/>
          </p:nvPr>
        </p:nvSpPr>
        <p:spPr>
          <a:xfrm>
            <a:off x="609601" y="342900"/>
            <a:ext cx="10972801" cy="723900"/>
          </a:xfr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A82876C4-1E46-7743-A870-A05FA1367C3F}"/>
              </a:ext>
            </a:extLst>
          </p:cNvPr>
          <p:cNvCxnSpPr/>
          <p:nvPr/>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3817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4F473BD-E3A5-0144-B414-5D33F8421B6A}"/>
              </a:ext>
            </a:extLst>
          </p:cNvPr>
          <p:cNvGraphicFramePr>
            <a:graphicFrameLocks noChangeAspect="1"/>
          </p:cNvGraphicFramePr>
          <p:nvPr userDrawn="1">
            <p:custDataLst>
              <p:tags r:id="rId22"/>
            </p:custDataLst>
            <p:extLst>
              <p:ext uri="{D42A27DB-BD31-4B8C-83A1-F6EECF244321}">
                <p14:modId xmlns:p14="http://schemas.microsoft.com/office/powerpoint/2010/main" val="699494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1" name="think-cell Slide" r:id="rId24" imgW="7772400" imgH="10058400" progId="TCLayout.ActiveDocument.1">
                  <p:embed/>
                </p:oleObj>
              </mc:Choice>
              <mc:Fallback>
                <p:oleObj name="think-cell Slide" r:id="rId24" imgW="7772400" imgH="10058400" progId="TCLayout.ActiveDocument.1">
                  <p:embed/>
                  <p:pic>
                    <p:nvPicPr>
                      <p:cNvPr id="8" name="Object 7" hidden="1">
                        <a:extLst>
                          <a:ext uri="{FF2B5EF4-FFF2-40B4-BE49-F238E27FC236}">
                            <a16:creationId xmlns:a16="http://schemas.microsoft.com/office/drawing/2014/main" id="{44F473BD-E3A5-0144-B414-5D33F8421B6A}"/>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788913-DE1D-1F4E-8E9F-0368C6969B32}"/>
              </a:ext>
            </a:extLst>
          </p:cNvPr>
          <p:cNvSpPr/>
          <p:nvPr userDrawn="1">
            <p:custDataLst>
              <p:tags r:id="rId23"/>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chemeClr val="bg1"/>
              </a:solidFill>
              <a:latin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599" y="342900"/>
            <a:ext cx="10972800" cy="723900"/>
          </a:xfrm>
          <a:prstGeom prst="rect">
            <a:avLst/>
          </a:prstGeom>
        </p:spPr>
        <p:txBody>
          <a:bodyPr vert="horz" lIns="0" tIns="868680" rIns="137160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09600" y="1584328"/>
            <a:ext cx="1097280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2104180" y="6400970"/>
            <a:ext cx="5695739"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endParaRPr lang="en-US"/>
          </a:p>
        </p:txBody>
      </p:sp>
      <p:sp>
        <p:nvSpPr>
          <p:cNvPr id="6" name="Slide Number Placeholder 5"/>
          <p:cNvSpPr>
            <a:spLocks noGrp="1"/>
          </p:cNvSpPr>
          <p:nvPr>
            <p:ph type="sldNum" sz="quarter" idx="4"/>
          </p:nvPr>
        </p:nvSpPr>
        <p:spPr>
          <a:xfrm>
            <a:off x="609600"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B9BD39B7-684D-4423-8BB6-5C8BA622930A}" type="slidenum">
              <a:rPr lang="en-US" smtClean="0"/>
              <a:t>‹#›</a:t>
            </a:fld>
            <a:endParaRPr lang="en-US"/>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1033993"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fld id="{8FCE484C-F504-4A63-A5F5-9D4870D4C98D}" type="datetimeFigureOut">
              <a:rPr lang="en-US" smtClean="0"/>
              <a:t>10/12/21</a:t>
            </a:fld>
            <a:endParaRPr lang="en-US"/>
          </a:p>
        </p:txBody>
      </p:sp>
      <p:sp>
        <p:nvSpPr>
          <p:cNvPr id="7" name="TextBox 6">
            <a:extLst>
              <a:ext uri="{FF2B5EF4-FFF2-40B4-BE49-F238E27FC236}">
                <a16:creationId xmlns:a16="http://schemas.microsoft.com/office/drawing/2014/main" id="{AE2EE6E4-ED9E-C34A-BAFF-47DECD28E2BC}"/>
              </a:ext>
            </a:extLst>
          </p:cNvPr>
          <p:cNvSpPr txBox="1"/>
          <p:nvPr/>
        </p:nvSpPr>
        <p:spPr>
          <a:xfrm>
            <a:off x="10086109"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108328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75">
          <p15:clr>
            <a:srgbClr val="F26B43"/>
          </p15:clr>
        </p15:guide>
        <p15:guide id="3" pos="288">
          <p15:clr>
            <a:srgbClr val="F26B43"/>
          </p15:clr>
        </p15:guide>
        <p15:guide id="8" pos="1899">
          <p15:clr>
            <a:srgbClr val="F26B43"/>
          </p15:clr>
        </p15:guide>
        <p15:guide id="9" pos="2789">
          <p15:clr>
            <a:srgbClr val="F26B43"/>
          </p15:clr>
        </p15:guide>
        <p15:guide id="10" pos="2880">
          <p15:clr>
            <a:srgbClr val="F26B43"/>
          </p15:clr>
        </p15:guide>
        <p15:guide id="12" pos="2974">
          <p15:clr>
            <a:srgbClr val="F26B43"/>
          </p15:clr>
        </p15:guide>
        <p15:guide id="13" pos="5472">
          <p15:clr>
            <a:srgbClr val="F26B43"/>
          </p15:clr>
        </p15:guide>
        <p15:guide id="15" pos="3685">
          <p15:clr>
            <a:srgbClr val="F26B43"/>
          </p15:clr>
        </p15:guide>
        <p15:guide id="16" pos="3861">
          <p15:clr>
            <a:srgbClr val="F26B43"/>
          </p15:clr>
        </p15:guide>
        <p15:guide id="23" orient="horz" pos="4148">
          <p15:clr>
            <a:srgbClr val="F26B43"/>
          </p15:clr>
        </p15:guide>
        <p15:guide id="24" orient="horz" pos="3944">
          <p15:clr>
            <a:srgbClr val="F26B43"/>
          </p15:clr>
        </p15:guide>
        <p15:guide id="25" orient="horz" pos="216">
          <p15:clr>
            <a:srgbClr val="F26B43"/>
          </p15:clr>
        </p15:guide>
        <p15:guide id="26" orient="horz" pos="998">
          <p15:clr>
            <a:srgbClr val="F26B43"/>
          </p15:clr>
        </p15:guide>
        <p15:guide id="27" orient="horz" pos="672">
          <p15:clr>
            <a:srgbClr val="F26B43"/>
          </p15:clr>
        </p15:guide>
        <p15:guide id="31" orient="horz" pos="835">
          <p15:clr>
            <a:srgbClr val="F26B43"/>
          </p15:clr>
        </p15:guide>
        <p15:guide id="32" orient="horz" pos="402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chart" Target="../charts/char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858B3-7623-DB4A-8685-24CEA0B1F254}"/>
              </a:ext>
            </a:extLst>
          </p:cNvPr>
          <p:cNvSpPr>
            <a:spLocks noGrp="1"/>
          </p:cNvSpPr>
          <p:nvPr>
            <p:ph type="title"/>
          </p:nvPr>
        </p:nvSpPr>
        <p:spPr/>
        <p:txBody>
          <a:bodyPr/>
          <a:lstStyle/>
          <a:p>
            <a:r>
              <a:rPr lang="en-US" dirty="0"/>
              <a:t>COVID-19 Analytics</a:t>
            </a:r>
          </a:p>
        </p:txBody>
      </p:sp>
      <p:sp>
        <p:nvSpPr>
          <p:cNvPr id="3" name="Text Placeholder 2">
            <a:extLst>
              <a:ext uri="{FF2B5EF4-FFF2-40B4-BE49-F238E27FC236}">
                <a16:creationId xmlns:a16="http://schemas.microsoft.com/office/drawing/2014/main" id="{CF4B22A5-5F1D-E945-8CDA-3707C11CE03D}"/>
              </a:ext>
            </a:extLst>
          </p:cNvPr>
          <p:cNvSpPr>
            <a:spLocks noGrp="1"/>
          </p:cNvSpPr>
          <p:nvPr>
            <p:ph type="body" sz="quarter" idx="12"/>
          </p:nvPr>
        </p:nvSpPr>
        <p:spPr/>
        <p:txBody>
          <a:bodyPr/>
          <a:lstStyle/>
          <a:p>
            <a:r>
              <a:rPr lang="en-US" sz="2000" dirty="0"/>
              <a:t>Hospital resource utilization forecasting </a:t>
            </a:r>
          </a:p>
          <a:p>
            <a:endParaRPr lang="en-US" dirty="0"/>
          </a:p>
          <a:p>
            <a:r>
              <a:rPr lang="en-US" i="1" dirty="0"/>
              <a:t>October 12, 2021</a:t>
            </a:r>
          </a:p>
        </p:txBody>
      </p:sp>
      <p:sp>
        <p:nvSpPr>
          <p:cNvPr id="5" name="TextBox 4">
            <a:extLst>
              <a:ext uri="{FF2B5EF4-FFF2-40B4-BE49-F238E27FC236}">
                <a16:creationId xmlns:a16="http://schemas.microsoft.com/office/drawing/2014/main" id="{2CF6E7B1-9047-594D-A3E3-807A4D78DA2A}"/>
              </a:ext>
            </a:extLst>
          </p:cNvPr>
          <p:cNvSpPr txBox="1"/>
          <p:nvPr/>
        </p:nvSpPr>
        <p:spPr>
          <a:xfrm>
            <a:off x="1128156" y="4797631"/>
            <a:ext cx="0" cy="0"/>
          </a:xfrm>
          <a:prstGeom prst="rect">
            <a:avLst/>
          </a:prstGeom>
          <a:noFill/>
        </p:spPr>
        <p:txBody>
          <a:bodyPr wrap="none" lIns="0" tIns="73152" rIns="0" bIns="0" rtlCol="0">
            <a:normAutofit fontScale="25000" lnSpcReduction="20000"/>
          </a:bodyPr>
          <a:lstStyle/>
          <a:p>
            <a:pPr algn="l"/>
            <a:endParaRPr lang="en-US" sz="1600" dirty="0">
              <a:solidFill>
                <a:schemeClr val="tx2"/>
              </a:solidFill>
            </a:endParaRPr>
          </a:p>
        </p:txBody>
      </p:sp>
    </p:spTree>
    <p:extLst>
      <p:ext uri="{BB962C8B-B14F-4D97-AF65-F5344CB8AC3E}">
        <p14:creationId xmlns:p14="http://schemas.microsoft.com/office/powerpoint/2010/main" val="2487821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A88AF6-2C6F-824D-8CFA-0B21C68DBC0D}"/>
              </a:ext>
            </a:extLst>
          </p:cNvPr>
          <p:cNvGraphicFramePr>
            <a:graphicFrameLocks noChangeAspect="1"/>
          </p:cNvGraphicFramePr>
          <p:nvPr>
            <p:custDataLst>
              <p:tags r:id="rId2"/>
            </p:custDataLst>
            <p:extLst>
              <p:ext uri="{D42A27DB-BD31-4B8C-83A1-F6EECF244321}">
                <p14:modId xmlns:p14="http://schemas.microsoft.com/office/powerpoint/2010/main" val="3932104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EA88AF6-2C6F-824D-8CFA-0B21C68DBC0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E4B5E27-AE8E-B34F-9413-5D6055782650}"/>
              </a:ext>
            </a:extLst>
          </p:cNvPr>
          <p:cNvSpPr/>
          <p:nvPr>
            <p:custDataLst>
              <p:tags r:id="rId3"/>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a:solidFill>
                <a:schemeClr val="bg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5A6974D-8CED-9C44-A5E3-D3EE34C24B31}"/>
              </a:ext>
            </a:extLst>
          </p:cNvPr>
          <p:cNvSpPr>
            <a:spLocks noGrp="1"/>
          </p:cNvSpPr>
          <p:nvPr>
            <p:ph type="title"/>
          </p:nvPr>
        </p:nvSpPr>
        <p:spPr>
          <a:xfrm>
            <a:off x="223936" y="342900"/>
            <a:ext cx="13347686" cy="723900"/>
          </a:xfrm>
        </p:spPr>
        <p:txBody>
          <a:bodyPr vert="horz"/>
          <a:lstStyle/>
          <a:p>
            <a:r>
              <a:rPr lang="en-US" dirty="0"/>
              <a:t>The COVID patient census in N.C. hospitals continued to decline this past week</a:t>
            </a:r>
          </a:p>
        </p:txBody>
      </p:sp>
      <p:graphicFrame>
        <p:nvGraphicFramePr>
          <p:cNvPr id="6" name="Chart 5">
            <a:extLst>
              <a:ext uri="{FF2B5EF4-FFF2-40B4-BE49-F238E27FC236}">
                <a16:creationId xmlns:a16="http://schemas.microsoft.com/office/drawing/2014/main" id="{F43DDD9B-4C95-E043-9741-E8C9B39C2816}"/>
              </a:ext>
            </a:extLst>
          </p:cNvPr>
          <p:cNvGraphicFramePr>
            <a:graphicFrameLocks/>
          </p:cNvGraphicFramePr>
          <p:nvPr>
            <p:extLst>
              <p:ext uri="{D42A27DB-BD31-4B8C-83A1-F6EECF244321}">
                <p14:modId xmlns:p14="http://schemas.microsoft.com/office/powerpoint/2010/main" val="135345201"/>
              </p:ext>
            </p:extLst>
          </p:nvPr>
        </p:nvGraphicFramePr>
        <p:xfrm>
          <a:off x="223936" y="1436913"/>
          <a:ext cx="11728578" cy="525313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1412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8962B8-E1A6-AC4C-B9AA-A8860F69C10E}"/>
              </a:ext>
            </a:extLst>
          </p:cNvPr>
          <p:cNvGraphicFramePr>
            <a:graphicFrameLocks noChangeAspect="1"/>
          </p:cNvGraphicFramePr>
          <p:nvPr>
            <p:custDataLst>
              <p:tags r:id="rId2"/>
            </p:custDataLst>
            <p:extLst>
              <p:ext uri="{D42A27DB-BD31-4B8C-83A1-F6EECF244321}">
                <p14:modId xmlns:p14="http://schemas.microsoft.com/office/powerpoint/2010/main" val="3263050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E28962B8-E1A6-AC4C-B9AA-A8860F69C10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47755F-0C9F-4049-8AC2-B5911225B58B}"/>
              </a:ext>
            </a:extLst>
          </p:cNvPr>
          <p:cNvSpPr/>
          <p:nvPr>
            <p:custDataLst>
              <p:tags r:id="rId3"/>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a:solidFill>
                <a:schemeClr val="bg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B8A0986-2111-1B40-A47A-20EE64D6498F}"/>
              </a:ext>
            </a:extLst>
          </p:cNvPr>
          <p:cNvSpPr>
            <a:spLocks noGrp="1"/>
          </p:cNvSpPr>
          <p:nvPr>
            <p:ph type="title"/>
          </p:nvPr>
        </p:nvSpPr>
        <p:spPr>
          <a:xfrm>
            <a:off x="609598" y="342900"/>
            <a:ext cx="13162386" cy="723900"/>
          </a:xfrm>
        </p:spPr>
        <p:txBody>
          <a:bodyPr vert="horz"/>
          <a:lstStyle/>
          <a:p>
            <a:r>
              <a:rPr lang="en-US" dirty="0"/>
              <a:t>UNC Health hospitals’ COVID patient census also declined over this past week</a:t>
            </a:r>
            <a:br>
              <a:rPr lang="en-US" dirty="0"/>
            </a:br>
            <a:endParaRPr lang="en-US" dirty="0"/>
          </a:p>
        </p:txBody>
      </p:sp>
      <p:pic>
        <p:nvPicPr>
          <p:cNvPr id="4" name="Picture 3">
            <a:extLst>
              <a:ext uri="{FF2B5EF4-FFF2-40B4-BE49-F238E27FC236}">
                <a16:creationId xmlns:a16="http://schemas.microsoft.com/office/drawing/2014/main" id="{49C418A5-2019-3741-A23A-DD46BCC77004}"/>
              </a:ext>
            </a:extLst>
          </p:cNvPr>
          <p:cNvPicPr>
            <a:picLocks noChangeAspect="1"/>
          </p:cNvPicPr>
          <p:nvPr/>
        </p:nvPicPr>
        <p:blipFill>
          <a:blip r:embed="rId7"/>
          <a:stretch>
            <a:fillRect/>
          </a:stretch>
        </p:blipFill>
        <p:spPr>
          <a:xfrm>
            <a:off x="895743" y="1367787"/>
            <a:ext cx="9778482" cy="5473354"/>
          </a:xfrm>
          <a:prstGeom prst="rect">
            <a:avLst/>
          </a:prstGeom>
        </p:spPr>
      </p:pic>
    </p:spTree>
    <p:extLst>
      <p:ext uri="{BB962C8B-B14F-4D97-AF65-F5344CB8AC3E}">
        <p14:creationId xmlns:p14="http://schemas.microsoft.com/office/powerpoint/2010/main" val="10202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BD0086-D7C8-4542-93D1-4E65F996A43E}"/>
              </a:ext>
            </a:extLst>
          </p:cNvPr>
          <p:cNvGraphicFramePr>
            <a:graphicFrameLocks noChangeAspect="1"/>
          </p:cNvGraphicFramePr>
          <p:nvPr>
            <p:custDataLst>
              <p:tags r:id="rId2"/>
            </p:custDataLst>
            <p:extLst>
              <p:ext uri="{D42A27DB-BD31-4B8C-83A1-F6EECF244321}">
                <p14:modId xmlns:p14="http://schemas.microsoft.com/office/powerpoint/2010/main" val="1073859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7DBD0086-D7C8-4542-93D1-4E65F996A43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87AD90-3379-3245-A7EE-44B9A05B5FD3}"/>
              </a:ext>
            </a:extLst>
          </p:cNvPr>
          <p:cNvSpPr/>
          <p:nvPr>
            <p:custDataLst>
              <p:tags r:id="rId3"/>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dirty="0">
              <a:solidFill>
                <a:schemeClr val="bg1"/>
              </a:solidFill>
              <a:latin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E12463F1-11D7-9842-BE73-A45939E5870D}"/>
              </a:ext>
            </a:extLst>
          </p:cNvPr>
          <p:cNvSpPr>
            <a:spLocks noGrp="1"/>
          </p:cNvSpPr>
          <p:nvPr>
            <p:ph type="title"/>
          </p:nvPr>
        </p:nvSpPr>
        <p:spPr>
          <a:xfrm>
            <a:off x="609597" y="342900"/>
            <a:ext cx="12856146" cy="723900"/>
          </a:xfrm>
        </p:spPr>
        <p:txBody>
          <a:bodyPr vert="horz"/>
          <a:lstStyle/>
          <a:p>
            <a:r>
              <a:rPr lang="en-US" dirty="0"/>
              <a:t>The UNC Health forecast estimates a continued decline</a:t>
            </a:r>
            <a:br>
              <a:rPr lang="en-US" dirty="0"/>
            </a:br>
            <a:r>
              <a:rPr lang="en-US" sz="1800" b="0" dirty="0"/>
              <a:t>The model forecast assumes a continuation of the </a:t>
            </a:r>
            <a:r>
              <a:rPr lang="en-US" sz="1800" u="sng" dirty="0"/>
              <a:t>current</a:t>
            </a:r>
            <a:r>
              <a:rPr lang="en-US" sz="1800" b="0" dirty="0"/>
              <a:t> rate of person to person transmission</a:t>
            </a:r>
            <a:endParaRPr lang="en-US" dirty="0"/>
          </a:p>
        </p:txBody>
      </p:sp>
      <p:sp>
        <p:nvSpPr>
          <p:cNvPr id="26" name="TextBox 25">
            <a:extLst>
              <a:ext uri="{FF2B5EF4-FFF2-40B4-BE49-F238E27FC236}">
                <a16:creationId xmlns:a16="http://schemas.microsoft.com/office/drawing/2014/main" id="{152E8F66-32B2-A343-B2A6-DD6E51BC21FC}"/>
              </a:ext>
            </a:extLst>
          </p:cNvPr>
          <p:cNvSpPr txBox="1"/>
          <p:nvPr/>
        </p:nvSpPr>
        <p:spPr>
          <a:xfrm>
            <a:off x="13613363" y="3601616"/>
            <a:ext cx="0" cy="0"/>
          </a:xfrm>
          <a:prstGeom prst="rect">
            <a:avLst/>
          </a:prstGeom>
          <a:noFill/>
        </p:spPr>
        <p:txBody>
          <a:bodyPr wrap="none" lIns="0" tIns="73152" rIns="0" bIns="0" rtlCol="0">
            <a:normAutofit fontScale="25000" lnSpcReduction="20000"/>
          </a:bodyPr>
          <a:lstStyle/>
          <a:p>
            <a:pPr algn="l"/>
            <a:endParaRPr lang="en-US" sz="1600" dirty="0">
              <a:solidFill>
                <a:schemeClr val="tx2"/>
              </a:solidFill>
            </a:endParaRPr>
          </a:p>
        </p:txBody>
      </p:sp>
      <p:pic>
        <p:nvPicPr>
          <p:cNvPr id="2" name="Picture 1">
            <a:extLst>
              <a:ext uri="{FF2B5EF4-FFF2-40B4-BE49-F238E27FC236}">
                <a16:creationId xmlns:a16="http://schemas.microsoft.com/office/drawing/2014/main" id="{175E6FC0-3C0B-BF44-BC60-911F66DE4193}"/>
              </a:ext>
            </a:extLst>
          </p:cNvPr>
          <p:cNvPicPr>
            <a:picLocks noChangeAspect="1"/>
          </p:cNvPicPr>
          <p:nvPr/>
        </p:nvPicPr>
        <p:blipFill>
          <a:blip r:embed="rId7"/>
          <a:stretch>
            <a:fillRect/>
          </a:stretch>
        </p:blipFill>
        <p:spPr>
          <a:xfrm>
            <a:off x="942395" y="1350350"/>
            <a:ext cx="9797143" cy="5502307"/>
          </a:xfrm>
          <a:prstGeom prst="rect">
            <a:avLst/>
          </a:prstGeom>
        </p:spPr>
      </p:pic>
    </p:spTree>
    <p:extLst>
      <p:ext uri="{BB962C8B-B14F-4D97-AF65-F5344CB8AC3E}">
        <p14:creationId xmlns:p14="http://schemas.microsoft.com/office/powerpoint/2010/main" val="12574662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841323-BF05-1A4B-AF4E-F964D00E8B2D}"/>
              </a:ext>
            </a:extLst>
          </p:cNvPr>
          <p:cNvGraphicFramePr>
            <a:graphicFrameLocks noChangeAspect="1"/>
          </p:cNvGraphicFramePr>
          <p:nvPr>
            <p:custDataLst>
              <p:tags r:id="rId2"/>
            </p:custDataLst>
            <p:extLst>
              <p:ext uri="{D42A27DB-BD31-4B8C-83A1-F6EECF244321}">
                <p14:modId xmlns:p14="http://schemas.microsoft.com/office/powerpoint/2010/main" val="4263015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7"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A841323-BF05-1A4B-AF4E-F964D00E8B2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3ACBEA-6054-EF43-AFEC-6DDAFED86ADC}"/>
              </a:ext>
            </a:extLst>
          </p:cNvPr>
          <p:cNvSpPr/>
          <p:nvPr>
            <p:custDataLst>
              <p:tags r:id="rId3"/>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dirty="0">
              <a:solidFill>
                <a:schemeClr val="bg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1A9EAF6-BA74-3240-BA89-7BD981D0F4C8}"/>
              </a:ext>
            </a:extLst>
          </p:cNvPr>
          <p:cNvSpPr>
            <a:spLocks noGrp="1"/>
          </p:cNvSpPr>
          <p:nvPr>
            <p:ph type="title"/>
          </p:nvPr>
        </p:nvSpPr>
        <p:spPr>
          <a:xfrm>
            <a:off x="688256" y="205248"/>
            <a:ext cx="12942773" cy="723900"/>
          </a:xfrm>
        </p:spPr>
        <p:txBody>
          <a:bodyPr vert="horz"/>
          <a:lstStyle/>
          <a:p>
            <a:r>
              <a:rPr lang="en-US" sz="2800" dirty="0"/>
              <a:t>UNC Health observed data and updated forecast range </a:t>
            </a:r>
          </a:p>
        </p:txBody>
      </p:sp>
      <p:pic>
        <p:nvPicPr>
          <p:cNvPr id="3" name="Picture 2">
            <a:extLst>
              <a:ext uri="{FF2B5EF4-FFF2-40B4-BE49-F238E27FC236}">
                <a16:creationId xmlns:a16="http://schemas.microsoft.com/office/drawing/2014/main" id="{250B49F3-FD69-9A47-85DE-C25DBF588EE9}"/>
              </a:ext>
            </a:extLst>
          </p:cNvPr>
          <p:cNvPicPr>
            <a:picLocks noChangeAspect="1"/>
          </p:cNvPicPr>
          <p:nvPr/>
        </p:nvPicPr>
        <p:blipFill>
          <a:blip r:embed="rId7"/>
          <a:stretch>
            <a:fillRect/>
          </a:stretch>
        </p:blipFill>
        <p:spPr>
          <a:xfrm>
            <a:off x="961056" y="1369973"/>
            <a:ext cx="9769151" cy="5476208"/>
          </a:xfrm>
          <a:prstGeom prst="rect">
            <a:avLst/>
          </a:prstGeom>
        </p:spPr>
      </p:pic>
    </p:spTree>
    <p:extLst>
      <p:ext uri="{BB962C8B-B14F-4D97-AF65-F5344CB8AC3E}">
        <p14:creationId xmlns:p14="http://schemas.microsoft.com/office/powerpoint/2010/main" val="4076887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540772" y="1371600"/>
            <a:ext cx="11287434" cy="4938662"/>
          </a:xfrm>
        </p:spPr>
        <p:txBody>
          <a:bodyPr/>
          <a:lstStyle/>
          <a:p>
            <a:r>
              <a:rPr lang="en-US" sz="1400" b="1" dirty="0"/>
              <a:t>The NC &amp; UNC Health COVID hospitals census has continued to decline over the past week.   </a:t>
            </a:r>
          </a:p>
          <a:p>
            <a:endParaRPr lang="en-US" sz="1400" b="1" dirty="0"/>
          </a:p>
          <a:p>
            <a:r>
              <a:rPr lang="en-US" sz="1400" b="1" dirty="0"/>
              <a:t>The forecast this week is very similar to the past three forecasts.  </a:t>
            </a:r>
          </a:p>
          <a:p>
            <a:endParaRPr lang="en-US" sz="1400" b="1" dirty="0"/>
          </a:p>
          <a:p>
            <a:r>
              <a:rPr lang="en-US" sz="1400" b="1" dirty="0"/>
              <a:t>Even with this decline, many NC hospitals are challenged to meet the demand for ICU level care. </a:t>
            </a:r>
          </a:p>
          <a:p>
            <a:endParaRPr lang="en-US" sz="1400" b="1" dirty="0"/>
          </a:p>
          <a:p>
            <a:r>
              <a:rPr lang="en-US" sz="1400" b="1" dirty="0"/>
              <a:t>The significant effort and teamwork by UNC Health entities is making a real difference for our patients and colleagues. </a:t>
            </a:r>
          </a:p>
          <a:p>
            <a:endParaRPr lang="en-US" sz="1400" b="1" dirty="0"/>
          </a:p>
          <a:p>
            <a:r>
              <a:rPr lang="en-US" sz="1400" b="1" dirty="0"/>
              <a:t>We need to continue to continue our strong advocacy for vaccination, including boosters for patients (65+ and other high risk) and our colleagues.  </a:t>
            </a:r>
          </a:p>
          <a:p>
            <a:endParaRPr lang="en-US" sz="1400" b="1" dirty="0"/>
          </a:p>
          <a:p>
            <a:r>
              <a:rPr lang="en-US" sz="1400" b="1" dirty="0"/>
              <a:t>The model, including entity specific data (accessed via a dropdown menu in the left margin), is available in the COVID dashboard section of the UNC Health intranet.  Please use your entity modeling coupled with the UNC Health and state trends to inform your planning.</a:t>
            </a:r>
            <a:endParaRPr lang="en-US" sz="1400" i="1" dirty="0">
              <a:solidFill>
                <a:srgbClr val="FF0000"/>
              </a:solidFill>
            </a:endParaRPr>
          </a:p>
        </p:txBody>
      </p:sp>
      <p:sp>
        <p:nvSpPr>
          <p:cNvPr id="3" name="Title 2"/>
          <p:cNvSpPr>
            <a:spLocks noGrp="1"/>
          </p:cNvSpPr>
          <p:nvPr>
            <p:ph type="title"/>
          </p:nvPr>
        </p:nvSpPr>
        <p:spPr>
          <a:xfrm>
            <a:off x="609599" y="78828"/>
            <a:ext cx="10972800" cy="930165"/>
          </a:xfrm>
        </p:spPr>
        <p:txBody>
          <a:bodyPr/>
          <a:lstStyle/>
          <a:p>
            <a:r>
              <a:rPr lang="en-US" dirty="0"/>
              <a:t>Modeling Update</a:t>
            </a:r>
          </a:p>
        </p:txBody>
      </p:sp>
    </p:spTree>
    <p:extLst>
      <p:ext uri="{BB962C8B-B14F-4D97-AF65-F5344CB8AC3E}">
        <p14:creationId xmlns:p14="http://schemas.microsoft.com/office/powerpoint/2010/main" val="41204253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q91A3rxyOiin_PiQoxa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ILgGoLAXoSsqCxi9SFW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_3zamFj2jvQbM2XJi6U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0aTOQ8QIxljkC438BMn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x7q3ojYw0ymbrHldyppSg"/>
</p:tagLst>
</file>

<file path=ppt/theme/theme1.xml><?xml version="1.0" encoding="utf-8"?>
<a:theme xmlns:a="http://schemas.openxmlformats.org/drawingml/2006/main" name="UNC Health templat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 Health template" id="{20BA0F64-365B-4AEC-B846-76179AC65DDE}" vid="{78844352-9A64-4873-BA36-7089CACD26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D10CC0848448A409486AC8E9BBFA865" ma:contentTypeVersion="0" ma:contentTypeDescription="Create a new document." ma:contentTypeScope="" ma:versionID="293b8897c737e7009d99f35170546ced">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0C760F-E0DE-485E-976D-7FC342ED7DBD}">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F31E0C00-CB79-4A76-ABD8-DCB1AE8D21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314D4D1-6653-46C8-A455-EF836A4FFD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765</TotalTime>
  <Words>226</Words>
  <Application>Microsoft Macintosh PowerPoint</Application>
  <PresentationFormat>Widescreen</PresentationFormat>
  <Paragraphs>22</Paragraphs>
  <Slides>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 Unicode MS</vt:lpstr>
      <vt:lpstr>Arial</vt:lpstr>
      <vt:lpstr>Calibri</vt:lpstr>
      <vt:lpstr>UNC Health template</vt:lpstr>
      <vt:lpstr>think-cell Slide</vt:lpstr>
      <vt:lpstr>COVID-19 Analytics</vt:lpstr>
      <vt:lpstr>The COVID patient census in N.C. hospitals continued to decline this past week</vt:lpstr>
      <vt:lpstr>UNC Health hospitals’ COVID patient census also declined over this past week </vt:lpstr>
      <vt:lpstr>The UNC Health forecast estimates a continued decline The model forecast assumes a continuation of the current rate of person to person transmission</vt:lpstr>
      <vt:lpstr>UNC Health observed data and updated forecast range </vt:lpstr>
      <vt:lpstr>Modeling Upda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Analytics</dc:title>
  <dc:creator>Lamm, Brent</dc:creator>
  <cp:lastModifiedBy>Lamm, Brent</cp:lastModifiedBy>
  <cp:revision>246</cp:revision>
  <dcterms:created xsi:type="dcterms:W3CDTF">2020-05-05T13:16:58Z</dcterms:created>
  <dcterms:modified xsi:type="dcterms:W3CDTF">2021-10-12T15:30:26Z</dcterms:modified>
</cp:coreProperties>
</file>